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Default Extension="wmv" ContentType="video/x-ms-wmv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4"/>
  </p:notesMasterIdLst>
  <p:sldIdLst>
    <p:sldId id="256" r:id="rId2"/>
    <p:sldId id="304" r:id="rId3"/>
    <p:sldId id="283" r:id="rId4"/>
    <p:sldId id="285" r:id="rId5"/>
    <p:sldId id="286" r:id="rId6"/>
    <p:sldId id="308" r:id="rId7"/>
    <p:sldId id="309" r:id="rId8"/>
    <p:sldId id="310" r:id="rId9"/>
    <p:sldId id="311" r:id="rId10"/>
    <p:sldId id="312" r:id="rId11"/>
    <p:sldId id="313" r:id="rId12"/>
    <p:sldId id="318" r:id="rId13"/>
    <p:sldId id="319" r:id="rId14"/>
    <p:sldId id="320" r:id="rId15"/>
    <p:sldId id="301" r:id="rId16"/>
    <p:sldId id="302" r:id="rId17"/>
    <p:sldId id="296" r:id="rId18"/>
    <p:sldId id="321" r:id="rId19"/>
    <p:sldId id="314" r:id="rId20"/>
    <p:sldId id="305" r:id="rId21"/>
    <p:sldId id="303" r:id="rId22"/>
    <p:sldId id="306" r:id="rId23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88" autoAdjust="0"/>
    <p:restoredTop sz="94575" autoAdjust="0"/>
  </p:normalViewPr>
  <p:slideViewPr>
    <p:cSldViewPr>
      <p:cViewPr varScale="1">
        <p:scale>
          <a:sx n="70" d="100"/>
          <a:sy n="70" d="100"/>
        </p:scale>
        <p:origin x="1386" y="5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87EC35E-662D-4775-AC93-27876F413E6E}" type="doc">
      <dgm:prSet loTypeId="urn:microsoft.com/office/officeart/2005/8/layout/radial6" loCatId="cycle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zh-CN" altLang="en-US"/>
        </a:p>
      </dgm:t>
    </dgm:pt>
    <dgm:pt modelId="{1D2DE6E9-39BB-4B5D-B03D-DCF5DC150C9B}">
      <dgm:prSet phldrT="[文本]" custT="1"/>
      <dgm:spPr/>
      <dgm:t>
        <a:bodyPr/>
        <a:lstStyle/>
        <a:p>
          <a:r>
            <a:rPr lang="en-US" altLang="zh-CN" sz="2800" dirty="0" smtClean="0"/>
            <a:t>JDOS</a:t>
          </a:r>
          <a:endParaRPr lang="zh-CN" altLang="en-US" sz="2800" dirty="0"/>
        </a:p>
      </dgm:t>
    </dgm:pt>
    <dgm:pt modelId="{E89432F8-6F80-4B46-A028-82258AB25878}" type="parTrans" cxnId="{A609F718-5342-4395-B62B-C3886589251D}">
      <dgm:prSet/>
      <dgm:spPr/>
      <dgm:t>
        <a:bodyPr/>
        <a:lstStyle/>
        <a:p>
          <a:endParaRPr lang="zh-CN" altLang="en-US"/>
        </a:p>
      </dgm:t>
    </dgm:pt>
    <dgm:pt modelId="{53245457-2826-4E68-BAF2-79DB27D4334A}" type="sibTrans" cxnId="{A609F718-5342-4395-B62B-C3886589251D}">
      <dgm:prSet/>
      <dgm:spPr/>
      <dgm:t>
        <a:bodyPr/>
        <a:lstStyle/>
        <a:p>
          <a:endParaRPr lang="zh-CN" altLang="en-US"/>
        </a:p>
      </dgm:t>
    </dgm:pt>
    <dgm:pt modelId="{ED2F8130-E369-4953-8F41-33F926A8C2A3}">
      <dgm:prSet phldrT="[文本]"/>
      <dgm:spPr/>
      <dgm:t>
        <a:bodyPr/>
        <a:lstStyle/>
        <a:p>
          <a:r>
            <a:rPr lang="en-US" altLang="zh-CN" dirty="0" smtClean="0"/>
            <a:t>Linux kernel</a:t>
          </a:r>
          <a:endParaRPr lang="zh-CN" altLang="en-US" dirty="0"/>
        </a:p>
      </dgm:t>
    </dgm:pt>
    <dgm:pt modelId="{D64201A7-1DA4-4EFA-A586-91AB3C3CE5F9}" type="parTrans" cxnId="{DE12F857-C752-4BB3-AACE-FFC6C0D0E62A}">
      <dgm:prSet/>
      <dgm:spPr/>
      <dgm:t>
        <a:bodyPr/>
        <a:lstStyle/>
        <a:p>
          <a:endParaRPr lang="zh-CN" altLang="en-US"/>
        </a:p>
      </dgm:t>
    </dgm:pt>
    <dgm:pt modelId="{F8256F8F-994B-4BA8-B000-C37067B87C46}" type="sibTrans" cxnId="{DE12F857-C752-4BB3-AACE-FFC6C0D0E62A}">
      <dgm:prSet/>
      <dgm:spPr/>
      <dgm:t>
        <a:bodyPr/>
        <a:lstStyle/>
        <a:p>
          <a:endParaRPr lang="zh-CN" altLang="en-US"/>
        </a:p>
      </dgm:t>
    </dgm:pt>
    <dgm:pt modelId="{ABBE169F-A9E7-43C9-A771-43D0DEE1FC31}">
      <dgm:prSet phldrT="[文本]"/>
      <dgm:spPr/>
      <dgm:t>
        <a:bodyPr/>
        <a:lstStyle/>
        <a:p>
          <a:r>
            <a:rPr lang="en-US" altLang="zh-CN" dirty="0" smtClean="0"/>
            <a:t>Docker</a:t>
          </a:r>
          <a:endParaRPr lang="zh-CN" altLang="en-US" dirty="0"/>
        </a:p>
      </dgm:t>
    </dgm:pt>
    <dgm:pt modelId="{9C824F1D-F657-4C6E-A3C4-2C69BF7B8AEB}" type="parTrans" cxnId="{AAB12593-0747-4D18-AD65-2F5CE80BF859}">
      <dgm:prSet/>
      <dgm:spPr/>
      <dgm:t>
        <a:bodyPr/>
        <a:lstStyle/>
        <a:p>
          <a:endParaRPr lang="zh-CN" altLang="en-US"/>
        </a:p>
      </dgm:t>
    </dgm:pt>
    <dgm:pt modelId="{7658D333-48CE-4C16-BD1E-3ADFC32F6AB5}" type="sibTrans" cxnId="{AAB12593-0747-4D18-AD65-2F5CE80BF859}">
      <dgm:prSet/>
      <dgm:spPr/>
      <dgm:t>
        <a:bodyPr/>
        <a:lstStyle/>
        <a:p>
          <a:endParaRPr lang="zh-CN" altLang="en-US"/>
        </a:p>
      </dgm:t>
    </dgm:pt>
    <dgm:pt modelId="{D233A8ED-CCFF-4F6E-B748-03AB55FA5672}">
      <dgm:prSet phldrT="[文本]"/>
      <dgm:spPr/>
      <dgm:t>
        <a:bodyPr/>
        <a:lstStyle/>
        <a:p>
          <a:r>
            <a:rPr lang="en-US" altLang="zh-CN" dirty="0" err="1" smtClean="0"/>
            <a:t>Openstack</a:t>
          </a:r>
          <a:endParaRPr lang="zh-CN" altLang="en-US" dirty="0"/>
        </a:p>
      </dgm:t>
    </dgm:pt>
    <dgm:pt modelId="{8149830F-D036-4D13-B880-68B1D757A179}" type="parTrans" cxnId="{BF97F24D-5F84-498B-9B80-2DA3EF460989}">
      <dgm:prSet/>
      <dgm:spPr/>
      <dgm:t>
        <a:bodyPr/>
        <a:lstStyle/>
        <a:p>
          <a:endParaRPr lang="zh-CN" altLang="en-US"/>
        </a:p>
      </dgm:t>
    </dgm:pt>
    <dgm:pt modelId="{188110C9-1499-4FD8-B222-D65BA835C8F5}" type="sibTrans" cxnId="{BF97F24D-5F84-498B-9B80-2DA3EF460989}">
      <dgm:prSet/>
      <dgm:spPr/>
      <dgm:t>
        <a:bodyPr/>
        <a:lstStyle/>
        <a:p>
          <a:endParaRPr lang="zh-CN" altLang="en-US"/>
        </a:p>
      </dgm:t>
    </dgm:pt>
    <dgm:pt modelId="{4BD5E86C-4C59-4EBB-BADB-68E3F11307D2}">
      <dgm:prSet phldrT="[文本]"/>
      <dgm:spPr/>
      <dgm:t>
        <a:bodyPr/>
        <a:lstStyle/>
        <a:p>
          <a:r>
            <a:rPr lang="en-US" altLang="zh-CN" dirty="0" smtClean="0"/>
            <a:t>Network</a:t>
          </a:r>
          <a:endParaRPr lang="zh-CN" altLang="en-US" dirty="0"/>
        </a:p>
      </dgm:t>
    </dgm:pt>
    <dgm:pt modelId="{1284ABE3-A114-4BE0-9C96-4716E402C0A6}" type="parTrans" cxnId="{76C07BAF-616A-4C89-BCC1-08348B8EA6E9}">
      <dgm:prSet/>
      <dgm:spPr/>
      <dgm:t>
        <a:bodyPr/>
        <a:lstStyle/>
        <a:p>
          <a:endParaRPr lang="zh-CN" altLang="en-US"/>
        </a:p>
      </dgm:t>
    </dgm:pt>
    <dgm:pt modelId="{6A3223EB-0766-46FB-BF5C-4E7DA43F76A7}" type="sibTrans" cxnId="{76C07BAF-616A-4C89-BCC1-08348B8EA6E9}">
      <dgm:prSet/>
      <dgm:spPr/>
      <dgm:t>
        <a:bodyPr/>
        <a:lstStyle/>
        <a:p>
          <a:endParaRPr lang="zh-CN" altLang="en-US"/>
        </a:p>
      </dgm:t>
    </dgm:pt>
    <dgm:pt modelId="{39E4E86F-A8FF-4E4A-9433-656A8490F9A2}">
      <dgm:prSet phldrT="[文本]"/>
      <dgm:spPr/>
      <dgm:t>
        <a:bodyPr/>
        <a:lstStyle/>
        <a:p>
          <a:r>
            <a:rPr lang="en-US" altLang="zh-CN" dirty="0" smtClean="0"/>
            <a:t>Monitor</a:t>
          </a:r>
          <a:endParaRPr lang="zh-CN" altLang="en-US" dirty="0"/>
        </a:p>
      </dgm:t>
    </dgm:pt>
    <dgm:pt modelId="{93065B1A-6C3C-4516-8086-1AC029891FF4}" type="parTrans" cxnId="{1C5D46CE-89B2-43D4-93A7-B3C8F4FCF791}">
      <dgm:prSet/>
      <dgm:spPr/>
      <dgm:t>
        <a:bodyPr/>
        <a:lstStyle/>
        <a:p>
          <a:endParaRPr lang="zh-CN" altLang="en-US"/>
        </a:p>
      </dgm:t>
    </dgm:pt>
    <dgm:pt modelId="{D4CD2A25-3B6E-4F1D-B5C7-85A7B3C92CA0}" type="sibTrans" cxnId="{1C5D46CE-89B2-43D4-93A7-B3C8F4FCF791}">
      <dgm:prSet/>
      <dgm:spPr/>
      <dgm:t>
        <a:bodyPr/>
        <a:lstStyle/>
        <a:p>
          <a:endParaRPr lang="zh-CN" altLang="en-US"/>
        </a:p>
      </dgm:t>
    </dgm:pt>
    <dgm:pt modelId="{D66B2B8D-F9A0-42BC-A436-0E23075E439F}" type="pres">
      <dgm:prSet presAssocID="{B87EC35E-662D-4775-AC93-27876F413E6E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AAD77D4C-C86D-4486-A938-E80DCB832780}" type="pres">
      <dgm:prSet presAssocID="{1D2DE6E9-39BB-4B5D-B03D-DCF5DC150C9B}" presName="centerShape" presStyleLbl="node0" presStyleIdx="0" presStyleCnt="1" custScaleX="82557" custScaleY="82557"/>
      <dgm:spPr/>
      <dgm:t>
        <a:bodyPr/>
        <a:lstStyle/>
        <a:p>
          <a:endParaRPr lang="zh-CN" altLang="en-US"/>
        </a:p>
      </dgm:t>
    </dgm:pt>
    <dgm:pt modelId="{E421032C-3BAB-4D19-BAE4-128F5672B13E}" type="pres">
      <dgm:prSet presAssocID="{ED2F8130-E369-4953-8F41-33F926A8C2A3}" presName="node" presStyleLbl="node1" presStyleIdx="0" presStyleCnt="5" custRadScaleRad="101315" custRadScaleInc="1639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171D4524-FFEC-4315-9723-8959C3505281}" type="pres">
      <dgm:prSet presAssocID="{ED2F8130-E369-4953-8F41-33F926A8C2A3}" presName="dummy" presStyleCnt="0"/>
      <dgm:spPr/>
    </dgm:pt>
    <dgm:pt modelId="{0D77102A-8862-476E-989B-DE036FD83A7C}" type="pres">
      <dgm:prSet presAssocID="{F8256F8F-994B-4BA8-B000-C37067B87C46}" presName="sibTrans" presStyleLbl="sibTrans2D1" presStyleIdx="0" presStyleCnt="5"/>
      <dgm:spPr/>
      <dgm:t>
        <a:bodyPr/>
        <a:lstStyle/>
        <a:p>
          <a:endParaRPr lang="zh-CN" altLang="en-US"/>
        </a:p>
      </dgm:t>
    </dgm:pt>
    <dgm:pt modelId="{2CDCF640-15A4-495D-9A53-2DDEAAB3AEC4}" type="pres">
      <dgm:prSet presAssocID="{ABBE169F-A9E7-43C9-A771-43D0DEE1FC31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1C3622DC-7A8E-413B-A185-4D920437AC23}" type="pres">
      <dgm:prSet presAssocID="{ABBE169F-A9E7-43C9-A771-43D0DEE1FC31}" presName="dummy" presStyleCnt="0"/>
      <dgm:spPr/>
    </dgm:pt>
    <dgm:pt modelId="{489E1CA3-1289-4BB2-8663-D94C24542EA7}" type="pres">
      <dgm:prSet presAssocID="{7658D333-48CE-4C16-BD1E-3ADFC32F6AB5}" presName="sibTrans" presStyleLbl="sibTrans2D1" presStyleIdx="1" presStyleCnt="5"/>
      <dgm:spPr/>
      <dgm:t>
        <a:bodyPr/>
        <a:lstStyle/>
        <a:p>
          <a:endParaRPr lang="zh-CN" altLang="en-US"/>
        </a:p>
      </dgm:t>
    </dgm:pt>
    <dgm:pt modelId="{7B97B2F1-99A7-48C5-8A5B-E18894557AB0}" type="pres">
      <dgm:prSet presAssocID="{D233A8ED-CCFF-4F6E-B748-03AB55FA5672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0AED7554-73F0-4571-B4F9-8A1A5462E122}" type="pres">
      <dgm:prSet presAssocID="{D233A8ED-CCFF-4F6E-B748-03AB55FA5672}" presName="dummy" presStyleCnt="0"/>
      <dgm:spPr/>
    </dgm:pt>
    <dgm:pt modelId="{C51BC9F6-3346-4630-A13B-ABF9BC514DAA}" type="pres">
      <dgm:prSet presAssocID="{188110C9-1499-4FD8-B222-D65BA835C8F5}" presName="sibTrans" presStyleLbl="sibTrans2D1" presStyleIdx="2" presStyleCnt="5"/>
      <dgm:spPr/>
      <dgm:t>
        <a:bodyPr/>
        <a:lstStyle/>
        <a:p>
          <a:endParaRPr lang="zh-CN" altLang="en-US"/>
        </a:p>
      </dgm:t>
    </dgm:pt>
    <dgm:pt modelId="{B6F9F1B1-D195-43B4-9858-85D6D0F8F822}" type="pres">
      <dgm:prSet presAssocID="{4BD5E86C-4C59-4EBB-BADB-68E3F11307D2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5921F84F-D7ED-47B0-B1E4-F4484BC50E5F}" type="pres">
      <dgm:prSet presAssocID="{4BD5E86C-4C59-4EBB-BADB-68E3F11307D2}" presName="dummy" presStyleCnt="0"/>
      <dgm:spPr/>
    </dgm:pt>
    <dgm:pt modelId="{66BBDB43-D299-45E5-A083-82129C6FDDA0}" type="pres">
      <dgm:prSet presAssocID="{6A3223EB-0766-46FB-BF5C-4E7DA43F76A7}" presName="sibTrans" presStyleLbl="sibTrans2D1" presStyleIdx="3" presStyleCnt="5"/>
      <dgm:spPr/>
      <dgm:t>
        <a:bodyPr/>
        <a:lstStyle/>
        <a:p>
          <a:endParaRPr lang="zh-CN" altLang="en-US"/>
        </a:p>
      </dgm:t>
    </dgm:pt>
    <dgm:pt modelId="{EA8667FE-344A-4F8C-80DF-5F2E3F060C3A}" type="pres">
      <dgm:prSet presAssocID="{39E4E86F-A8FF-4E4A-9433-656A8490F9A2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DE3BD352-6FE5-4CF2-A9AA-32C03FA14EEB}" type="pres">
      <dgm:prSet presAssocID="{39E4E86F-A8FF-4E4A-9433-656A8490F9A2}" presName="dummy" presStyleCnt="0"/>
      <dgm:spPr/>
    </dgm:pt>
    <dgm:pt modelId="{8581AFA5-2006-4CBD-8CAD-24FCDC61CE3D}" type="pres">
      <dgm:prSet presAssocID="{D4CD2A25-3B6E-4F1D-B5C7-85A7B3C92CA0}" presName="sibTrans" presStyleLbl="sibTrans2D1" presStyleIdx="4" presStyleCnt="5" custLinFactNeighborX="327" custLinFactNeighborY="-2630"/>
      <dgm:spPr/>
      <dgm:t>
        <a:bodyPr/>
        <a:lstStyle/>
        <a:p>
          <a:endParaRPr lang="zh-CN" altLang="en-US"/>
        </a:p>
      </dgm:t>
    </dgm:pt>
  </dgm:ptLst>
  <dgm:cxnLst>
    <dgm:cxn modelId="{1C5D46CE-89B2-43D4-93A7-B3C8F4FCF791}" srcId="{1D2DE6E9-39BB-4B5D-B03D-DCF5DC150C9B}" destId="{39E4E86F-A8FF-4E4A-9433-656A8490F9A2}" srcOrd="4" destOrd="0" parTransId="{93065B1A-6C3C-4516-8086-1AC029891FF4}" sibTransId="{D4CD2A25-3B6E-4F1D-B5C7-85A7B3C92CA0}"/>
    <dgm:cxn modelId="{5E2E101A-F659-496F-B870-135A12BE82CD}" type="presOf" srcId="{ED2F8130-E369-4953-8F41-33F926A8C2A3}" destId="{E421032C-3BAB-4D19-BAE4-128F5672B13E}" srcOrd="0" destOrd="0" presId="urn:microsoft.com/office/officeart/2005/8/layout/radial6"/>
    <dgm:cxn modelId="{A4BB3150-B5DE-4FF6-838F-2527A839677E}" type="presOf" srcId="{188110C9-1499-4FD8-B222-D65BA835C8F5}" destId="{C51BC9F6-3346-4630-A13B-ABF9BC514DAA}" srcOrd="0" destOrd="0" presId="urn:microsoft.com/office/officeart/2005/8/layout/radial6"/>
    <dgm:cxn modelId="{470B204E-D26A-44CA-B4BD-EDD6A7610F6E}" type="presOf" srcId="{6A3223EB-0766-46FB-BF5C-4E7DA43F76A7}" destId="{66BBDB43-D299-45E5-A083-82129C6FDDA0}" srcOrd="0" destOrd="0" presId="urn:microsoft.com/office/officeart/2005/8/layout/radial6"/>
    <dgm:cxn modelId="{D227C8A5-1EB5-4974-965D-64354834FAD1}" type="presOf" srcId="{B87EC35E-662D-4775-AC93-27876F413E6E}" destId="{D66B2B8D-F9A0-42BC-A436-0E23075E439F}" srcOrd="0" destOrd="0" presId="urn:microsoft.com/office/officeart/2005/8/layout/radial6"/>
    <dgm:cxn modelId="{1BF5FFF4-046D-4120-B35F-9451D939D9AB}" type="presOf" srcId="{ABBE169F-A9E7-43C9-A771-43D0DEE1FC31}" destId="{2CDCF640-15A4-495D-9A53-2DDEAAB3AEC4}" srcOrd="0" destOrd="0" presId="urn:microsoft.com/office/officeart/2005/8/layout/radial6"/>
    <dgm:cxn modelId="{D5BC9289-D73F-41F9-8971-8621730C7D47}" type="presOf" srcId="{1D2DE6E9-39BB-4B5D-B03D-DCF5DC150C9B}" destId="{AAD77D4C-C86D-4486-A938-E80DCB832780}" srcOrd="0" destOrd="0" presId="urn:microsoft.com/office/officeart/2005/8/layout/radial6"/>
    <dgm:cxn modelId="{DE12F857-C752-4BB3-AACE-FFC6C0D0E62A}" srcId="{1D2DE6E9-39BB-4B5D-B03D-DCF5DC150C9B}" destId="{ED2F8130-E369-4953-8F41-33F926A8C2A3}" srcOrd="0" destOrd="0" parTransId="{D64201A7-1DA4-4EFA-A586-91AB3C3CE5F9}" sibTransId="{F8256F8F-994B-4BA8-B000-C37067B87C46}"/>
    <dgm:cxn modelId="{A2DAC994-C859-40DF-979B-ED247CEE66A9}" type="presOf" srcId="{4BD5E86C-4C59-4EBB-BADB-68E3F11307D2}" destId="{B6F9F1B1-D195-43B4-9858-85D6D0F8F822}" srcOrd="0" destOrd="0" presId="urn:microsoft.com/office/officeart/2005/8/layout/radial6"/>
    <dgm:cxn modelId="{3836FFC3-150F-47C6-95FE-69FB2FFBE70E}" type="presOf" srcId="{F8256F8F-994B-4BA8-B000-C37067B87C46}" destId="{0D77102A-8862-476E-989B-DE036FD83A7C}" srcOrd="0" destOrd="0" presId="urn:microsoft.com/office/officeart/2005/8/layout/radial6"/>
    <dgm:cxn modelId="{1DFDA140-DA74-4868-A45E-51D9B3EC7BEC}" type="presOf" srcId="{39E4E86F-A8FF-4E4A-9433-656A8490F9A2}" destId="{EA8667FE-344A-4F8C-80DF-5F2E3F060C3A}" srcOrd="0" destOrd="0" presId="urn:microsoft.com/office/officeart/2005/8/layout/radial6"/>
    <dgm:cxn modelId="{AAB12593-0747-4D18-AD65-2F5CE80BF859}" srcId="{1D2DE6E9-39BB-4B5D-B03D-DCF5DC150C9B}" destId="{ABBE169F-A9E7-43C9-A771-43D0DEE1FC31}" srcOrd="1" destOrd="0" parTransId="{9C824F1D-F657-4C6E-A3C4-2C69BF7B8AEB}" sibTransId="{7658D333-48CE-4C16-BD1E-3ADFC32F6AB5}"/>
    <dgm:cxn modelId="{76C07BAF-616A-4C89-BCC1-08348B8EA6E9}" srcId="{1D2DE6E9-39BB-4B5D-B03D-DCF5DC150C9B}" destId="{4BD5E86C-4C59-4EBB-BADB-68E3F11307D2}" srcOrd="3" destOrd="0" parTransId="{1284ABE3-A114-4BE0-9C96-4716E402C0A6}" sibTransId="{6A3223EB-0766-46FB-BF5C-4E7DA43F76A7}"/>
    <dgm:cxn modelId="{D0B036A1-A672-4975-B0D6-D4758211D9D0}" type="presOf" srcId="{D4CD2A25-3B6E-4F1D-B5C7-85A7B3C92CA0}" destId="{8581AFA5-2006-4CBD-8CAD-24FCDC61CE3D}" srcOrd="0" destOrd="0" presId="urn:microsoft.com/office/officeart/2005/8/layout/radial6"/>
    <dgm:cxn modelId="{A014ACE3-D07D-433E-BE1E-C6416DE810EB}" type="presOf" srcId="{7658D333-48CE-4C16-BD1E-3ADFC32F6AB5}" destId="{489E1CA3-1289-4BB2-8663-D94C24542EA7}" srcOrd="0" destOrd="0" presId="urn:microsoft.com/office/officeart/2005/8/layout/radial6"/>
    <dgm:cxn modelId="{991F3D80-0357-4200-A2C1-A7B9F58B301D}" type="presOf" srcId="{D233A8ED-CCFF-4F6E-B748-03AB55FA5672}" destId="{7B97B2F1-99A7-48C5-8A5B-E18894557AB0}" srcOrd="0" destOrd="0" presId="urn:microsoft.com/office/officeart/2005/8/layout/radial6"/>
    <dgm:cxn modelId="{A609F718-5342-4395-B62B-C3886589251D}" srcId="{B87EC35E-662D-4775-AC93-27876F413E6E}" destId="{1D2DE6E9-39BB-4B5D-B03D-DCF5DC150C9B}" srcOrd="0" destOrd="0" parTransId="{E89432F8-6F80-4B46-A028-82258AB25878}" sibTransId="{53245457-2826-4E68-BAF2-79DB27D4334A}"/>
    <dgm:cxn modelId="{BF97F24D-5F84-498B-9B80-2DA3EF460989}" srcId="{1D2DE6E9-39BB-4B5D-B03D-DCF5DC150C9B}" destId="{D233A8ED-CCFF-4F6E-B748-03AB55FA5672}" srcOrd="2" destOrd="0" parTransId="{8149830F-D036-4D13-B880-68B1D757A179}" sibTransId="{188110C9-1499-4FD8-B222-D65BA835C8F5}"/>
    <dgm:cxn modelId="{7AF94365-9E05-48BB-BC78-231D1850A7DF}" type="presParOf" srcId="{D66B2B8D-F9A0-42BC-A436-0E23075E439F}" destId="{AAD77D4C-C86D-4486-A938-E80DCB832780}" srcOrd="0" destOrd="0" presId="urn:microsoft.com/office/officeart/2005/8/layout/radial6"/>
    <dgm:cxn modelId="{A30EB7EC-BEE8-4C2B-84AE-742825972105}" type="presParOf" srcId="{D66B2B8D-F9A0-42BC-A436-0E23075E439F}" destId="{E421032C-3BAB-4D19-BAE4-128F5672B13E}" srcOrd="1" destOrd="0" presId="urn:microsoft.com/office/officeart/2005/8/layout/radial6"/>
    <dgm:cxn modelId="{BD4F2540-DD32-4C8D-BA9B-1B744E71C9D7}" type="presParOf" srcId="{D66B2B8D-F9A0-42BC-A436-0E23075E439F}" destId="{171D4524-FFEC-4315-9723-8959C3505281}" srcOrd="2" destOrd="0" presId="urn:microsoft.com/office/officeart/2005/8/layout/radial6"/>
    <dgm:cxn modelId="{50A2335F-A5F7-469B-8E78-A344C0F1FCC9}" type="presParOf" srcId="{D66B2B8D-F9A0-42BC-A436-0E23075E439F}" destId="{0D77102A-8862-476E-989B-DE036FD83A7C}" srcOrd="3" destOrd="0" presId="urn:microsoft.com/office/officeart/2005/8/layout/radial6"/>
    <dgm:cxn modelId="{CF26FA4A-111D-4CAE-BD84-ADFF2A31C606}" type="presParOf" srcId="{D66B2B8D-F9A0-42BC-A436-0E23075E439F}" destId="{2CDCF640-15A4-495D-9A53-2DDEAAB3AEC4}" srcOrd="4" destOrd="0" presId="urn:microsoft.com/office/officeart/2005/8/layout/radial6"/>
    <dgm:cxn modelId="{F1BD57FC-A655-42E8-809D-57F76F5B0848}" type="presParOf" srcId="{D66B2B8D-F9A0-42BC-A436-0E23075E439F}" destId="{1C3622DC-7A8E-413B-A185-4D920437AC23}" srcOrd="5" destOrd="0" presId="urn:microsoft.com/office/officeart/2005/8/layout/radial6"/>
    <dgm:cxn modelId="{9EE6518E-857B-4CBA-937E-1122C174B271}" type="presParOf" srcId="{D66B2B8D-F9A0-42BC-A436-0E23075E439F}" destId="{489E1CA3-1289-4BB2-8663-D94C24542EA7}" srcOrd="6" destOrd="0" presId="urn:microsoft.com/office/officeart/2005/8/layout/radial6"/>
    <dgm:cxn modelId="{66C86F54-5294-4025-9C9C-386CB9C56922}" type="presParOf" srcId="{D66B2B8D-F9A0-42BC-A436-0E23075E439F}" destId="{7B97B2F1-99A7-48C5-8A5B-E18894557AB0}" srcOrd="7" destOrd="0" presId="urn:microsoft.com/office/officeart/2005/8/layout/radial6"/>
    <dgm:cxn modelId="{C9EF3D0A-6A58-4A0A-9977-CAC8067BB668}" type="presParOf" srcId="{D66B2B8D-F9A0-42BC-A436-0E23075E439F}" destId="{0AED7554-73F0-4571-B4F9-8A1A5462E122}" srcOrd="8" destOrd="0" presId="urn:microsoft.com/office/officeart/2005/8/layout/radial6"/>
    <dgm:cxn modelId="{C5B48184-076C-4138-9D12-998B607720E8}" type="presParOf" srcId="{D66B2B8D-F9A0-42BC-A436-0E23075E439F}" destId="{C51BC9F6-3346-4630-A13B-ABF9BC514DAA}" srcOrd="9" destOrd="0" presId="urn:microsoft.com/office/officeart/2005/8/layout/radial6"/>
    <dgm:cxn modelId="{1FA96690-D761-4F71-A99B-2D371F409DD4}" type="presParOf" srcId="{D66B2B8D-F9A0-42BC-A436-0E23075E439F}" destId="{B6F9F1B1-D195-43B4-9858-85D6D0F8F822}" srcOrd="10" destOrd="0" presId="urn:microsoft.com/office/officeart/2005/8/layout/radial6"/>
    <dgm:cxn modelId="{EC0AC8CB-81A0-42C9-B5C4-818D4308BE69}" type="presParOf" srcId="{D66B2B8D-F9A0-42BC-A436-0E23075E439F}" destId="{5921F84F-D7ED-47B0-B1E4-F4484BC50E5F}" srcOrd="11" destOrd="0" presId="urn:microsoft.com/office/officeart/2005/8/layout/radial6"/>
    <dgm:cxn modelId="{17ED6189-EA0E-4F91-9441-A6DCDF9E64BB}" type="presParOf" srcId="{D66B2B8D-F9A0-42BC-A436-0E23075E439F}" destId="{66BBDB43-D299-45E5-A083-82129C6FDDA0}" srcOrd="12" destOrd="0" presId="urn:microsoft.com/office/officeart/2005/8/layout/radial6"/>
    <dgm:cxn modelId="{E38A5A90-CE18-46BA-AE73-F9D98F6E1380}" type="presParOf" srcId="{D66B2B8D-F9A0-42BC-A436-0E23075E439F}" destId="{EA8667FE-344A-4F8C-80DF-5F2E3F060C3A}" srcOrd="13" destOrd="0" presId="urn:microsoft.com/office/officeart/2005/8/layout/radial6"/>
    <dgm:cxn modelId="{A6E20ABB-D600-4F2A-ABFA-D9AE1AB22A90}" type="presParOf" srcId="{D66B2B8D-F9A0-42BC-A436-0E23075E439F}" destId="{DE3BD352-6FE5-4CF2-A9AA-32C03FA14EEB}" srcOrd="14" destOrd="0" presId="urn:microsoft.com/office/officeart/2005/8/layout/radial6"/>
    <dgm:cxn modelId="{5574BAE9-94DE-4ED4-AAB0-CF0B7145DADA}" type="presParOf" srcId="{D66B2B8D-F9A0-42BC-A436-0E23075E439F}" destId="{8581AFA5-2006-4CBD-8CAD-24FCDC61CE3D}" srcOrd="15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581AFA5-2006-4CBD-8CAD-24FCDC61CE3D}">
      <dsp:nvSpPr>
        <dsp:cNvPr id="0" name=""/>
        <dsp:cNvSpPr/>
      </dsp:nvSpPr>
      <dsp:spPr>
        <a:xfrm>
          <a:off x="1386335" y="411789"/>
          <a:ext cx="3346149" cy="3346149"/>
        </a:xfrm>
        <a:prstGeom prst="blockArc">
          <a:avLst>
            <a:gd name="adj1" fmla="val 11876809"/>
            <a:gd name="adj2" fmla="val 16222927"/>
            <a:gd name="adj3" fmla="val 4636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6BBDB43-D299-45E5-A083-82129C6FDDA0}">
      <dsp:nvSpPr>
        <dsp:cNvPr id="0" name=""/>
        <dsp:cNvSpPr/>
      </dsp:nvSpPr>
      <dsp:spPr>
        <a:xfrm>
          <a:off x="1374925" y="501235"/>
          <a:ext cx="3346149" cy="3346149"/>
        </a:xfrm>
        <a:prstGeom prst="blockArc">
          <a:avLst>
            <a:gd name="adj1" fmla="val 7560000"/>
            <a:gd name="adj2" fmla="val 11880000"/>
            <a:gd name="adj3" fmla="val 4636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51BC9F6-3346-4630-A13B-ABF9BC514DAA}">
      <dsp:nvSpPr>
        <dsp:cNvPr id="0" name=""/>
        <dsp:cNvSpPr/>
      </dsp:nvSpPr>
      <dsp:spPr>
        <a:xfrm>
          <a:off x="1374925" y="501235"/>
          <a:ext cx="3346149" cy="3346149"/>
        </a:xfrm>
        <a:prstGeom prst="blockArc">
          <a:avLst>
            <a:gd name="adj1" fmla="val 3240000"/>
            <a:gd name="adj2" fmla="val 7560000"/>
            <a:gd name="adj3" fmla="val 4636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89E1CA3-1289-4BB2-8663-D94C24542EA7}">
      <dsp:nvSpPr>
        <dsp:cNvPr id="0" name=""/>
        <dsp:cNvSpPr/>
      </dsp:nvSpPr>
      <dsp:spPr>
        <a:xfrm>
          <a:off x="1374925" y="501235"/>
          <a:ext cx="3346149" cy="3346149"/>
        </a:xfrm>
        <a:prstGeom prst="blockArc">
          <a:avLst>
            <a:gd name="adj1" fmla="val 20520000"/>
            <a:gd name="adj2" fmla="val 3240000"/>
            <a:gd name="adj3" fmla="val 4636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D77102A-8862-476E-989B-DE036FD83A7C}">
      <dsp:nvSpPr>
        <dsp:cNvPr id="0" name=""/>
        <dsp:cNvSpPr/>
      </dsp:nvSpPr>
      <dsp:spPr>
        <a:xfrm>
          <a:off x="1374455" y="499786"/>
          <a:ext cx="3346149" cy="3346149"/>
        </a:xfrm>
        <a:prstGeom prst="blockArc">
          <a:avLst>
            <a:gd name="adj1" fmla="val 16224901"/>
            <a:gd name="adj2" fmla="val 20523205"/>
            <a:gd name="adj3" fmla="val 4636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AD77D4C-C86D-4486-A938-E80DCB832780}">
      <dsp:nvSpPr>
        <dsp:cNvPr id="0" name=""/>
        <dsp:cNvSpPr/>
      </dsp:nvSpPr>
      <dsp:spPr>
        <a:xfrm>
          <a:off x="2412772" y="1539082"/>
          <a:ext cx="1270455" cy="127045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2800" kern="1200" dirty="0" smtClean="0"/>
            <a:t>JDOS</a:t>
          </a:r>
          <a:endParaRPr lang="zh-CN" altLang="en-US" sz="2800" kern="1200" dirty="0"/>
        </a:p>
      </dsp:txBody>
      <dsp:txXfrm>
        <a:off x="2598826" y="1725136"/>
        <a:ext cx="898347" cy="898347"/>
      </dsp:txXfrm>
    </dsp:sp>
    <dsp:sp modelId="{E421032C-3BAB-4D19-BAE4-128F5672B13E}">
      <dsp:nvSpPr>
        <dsp:cNvPr id="0" name=""/>
        <dsp:cNvSpPr/>
      </dsp:nvSpPr>
      <dsp:spPr>
        <a:xfrm>
          <a:off x="2520758" y="0"/>
          <a:ext cx="1077217" cy="107721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kern="1200" dirty="0" smtClean="0"/>
            <a:t>Linux kernel</a:t>
          </a:r>
          <a:endParaRPr lang="zh-CN" altLang="en-US" sz="1200" kern="1200" dirty="0"/>
        </a:p>
      </dsp:txBody>
      <dsp:txXfrm>
        <a:off x="2678513" y="157755"/>
        <a:ext cx="761707" cy="761707"/>
      </dsp:txXfrm>
    </dsp:sp>
    <dsp:sp modelId="{2CDCF640-15A4-495D-9A53-2DDEAAB3AEC4}">
      <dsp:nvSpPr>
        <dsp:cNvPr id="0" name=""/>
        <dsp:cNvSpPr/>
      </dsp:nvSpPr>
      <dsp:spPr>
        <a:xfrm>
          <a:off x="4063697" y="1130676"/>
          <a:ext cx="1077217" cy="107721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kern="1200" dirty="0" smtClean="0"/>
            <a:t>Docker</a:t>
          </a:r>
          <a:endParaRPr lang="zh-CN" altLang="en-US" sz="1200" kern="1200" dirty="0"/>
        </a:p>
      </dsp:txBody>
      <dsp:txXfrm>
        <a:off x="4221452" y="1288431"/>
        <a:ext cx="761707" cy="761707"/>
      </dsp:txXfrm>
    </dsp:sp>
    <dsp:sp modelId="{7B97B2F1-99A7-48C5-8A5B-E18894557AB0}">
      <dsp:nvSpPr>
        <dsp:cNvPr id="0" name=""/>
        <dsp:cNvSpPr/>
      </dsp:nvSpPr>
      <dsp:spPr>
        <a:xfrm>
          <a:off x="3470005" y="2957873"/>
          <a:ext cx="1077217" cy="107721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kern="1200" dirty="0" err="1" smtClean="0"/>
            <a:t>Openstack</a:t>
          </a:r>
          <a:endParaRPr lang="zh-CN" altLang="en-US" sz="1200" kern="1200" dirty="0"/>
        </a:p>
      </dsp:txBody>
      <dsp:txXfrm>
        <a:off x="3627760" y="3115628"/>
        <a:ext cx="761707" cy="761707"/>
      </dsp:txXfrm>
    </dsp:sp>
    <dsp:sp modelId="{B6F9F1B1-D195-43B4-9858-85D6D0F8F822}">
      <dsp:nvSpPr>
        <dsp:cNvPr id="0" name=""/>
        <dsp:cNvSpPr/>
      </dsp:nvSpPr>
      <dsp:spPr>
        <a:xfrm>
          <a:off x="1548776" y="2957873"/>
          <a:ext cx="1077217" cy="107721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kern="1200" dirty="0" smtClean="0"/>
            <a:t>Network</a:t>
          </a:r>
          <a:endParaRPr lang="zh-CN" altLang="en-US" sz="1200" kern="1200" dirty="0"/>
        </a:p>
      </dsp:txBody>
      <dsp:txXfrm>
        <a:off x="1706531" y="3115628"/>
        <a:ext cx="761707" cy="761707"/>
      </dsp:txXfrm>
    </dsp:sp>
    <dsp:sp modelId="{EA8667FE-344A-4F8C-80DF-5F2E3F060C3A}">
      <dsp:nvSpPr>
        <dsp:cNvPr id="0" name=""/>
        <dsp:cNvSpPr/>
      </dsp:nvSpPr>
      <dsp:spPr>
        <a:xfrm>
          <a:off x="955084" y="1130676"/>
          <a:ext cx="1077217" cy="107721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kern="1200" dirty="0" smtClean="0"/>
            <a:t>Monitor</a:t>
          </a:r>
          <a:endParaRPr lang="zh-CN" altLang="en-US" sz="1200" kern="1200" dirty="0"/>
        </a:p>
      </dsp:txBody>
      <dsp:txXfrm>
        <a:off x="1112839" y="1288431"/>
        <a:ext cx="761707" cy="76170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7C0379-6811-4513-A849-22A51DA28DDB}" type="datetimeFigureOut">
              <a:rPr lang="zh-CN" altLang="en-US" smtClean="0"/>
              <a:pPr/>
              <a:t>2016/5/3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A0D99-8E78-475C-88BD-8757E0F3C976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784876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9" descr="应用部分3-02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-23812" y="-68729"/>
            <a:ext cx="9167813" cy="687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标题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539552" y="692696"/>
            <a:ext cx="7344816" cy="1368152"/>
          </a:xfrm>
          <a:prstGeom prst="rect">
            <a:avLst/>
          </a:prstGeom>
        </p:spPr>
        <p:txBody>
          <a:bodyPr anchor="ctr"/>
          <a:lstStyle>
            <a:lvl1pPr>
              <a:defRPr sz="3000" b="1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7" name="副标题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39553" y="2505230"/>
            <a:ext cx="6120680" cy="900122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l">
              <a:buNone/>
              <a:defRPr sz="1500" b="1">
                <a:solidFill>
                  <a:schemeClr val="bg1"/>
                </a:solidFill>
                <a:latin typeface="+mj-ea"/>
                <a:ea typeface="+mj-ea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 dirty="0"/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539553" y="4365104"/>
            <a:ext cx="3024188" cy="50323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en-US" altLang="zh-CN" smtClean="0"/>
              <a:t>Date/Time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21051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1369010"/>
              </p:ext>
            </p:ext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" descr="应用部分3-04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7462" y="-9525"/>
            <a:ext cx="9180513" cy="687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Box 4"/>
          <p:cNvSpPr txBox="1">
            <a:spLocks noChangeArrowheads="1"/>
          </p:cNvSpPr>
          <p:nvPr userDrawn="1"/>
        </p:nvSpPr>
        <p:spPr bwMode="auto">
          <a:xfrm>
            <a:off x="612775" y="677865"/>
            <a:ext cx="4032250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zh-CN" altLang="en-US" sz="24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目 录     </a:t>
            </a:r>
            <a:r>
              <a:rPr lang="en-US" altLang="zh-CN" sz="24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CONTENTS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 hasCustomPrompt="1"/>
          </p:nvPr>
        </p:nvSpPr>
        <p:spPr>
          <a:xfrm>
            <a:off x="1619673" y="1628800"/>
            <a:ext cx="4032448" cy="4248472"/>
          </a:xfrm>
          <a:prstGeom prst="rect">
            <a:avLst/>
          </a:prstGeom>
        </p:spPr>
        <p:txBody>
          <a:bodyPr>
            <a:normAutofit/>
          </a:bodyPr>
          <a:lstStyle>
            <a:lvl1pPr marL="300038" indent="-300038" eaLnBrk="1" hangingPunct="1">
              <a:lnSpc>
                <a:spcPct val="120000"/>
              </a:lnSpc>
              <a:buFont typeface="+mj-ea"/>
              <a:buAutoNum type="ea1JpnChsDbPeriod"/>
              <a:defRPr sz="1500">
                <a:solidFill>
                  <a:schemeClr val="bg1"/>
                </a:solidFill>
                <a:latin typeface="+mj-ea"/>
                <a:ea typeface="+mj-ea"/>
              </a:defRPr>
            </a:lvl1pPr>
            <a:lvl2pPr>
              <a:defRPr sz="1350">
                <a:solidFill>
                  <a:schemeClr val="bg1"/>
                </a:solidFill>
              </a:defRPr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200"/>
            </a:lvl6pPr>
          </a:lstStyle>
          <a:p>
            <a:pPr eaLnBrk="1" hangingPunct="1">
              <a:lnSpc>
                <a:spcPct val="120000"/>
              </a:lnSpc>
            </a:pPr>
            <a:r>
              <a:rPr lang="zh-CN" altLang="en-US" dirty="0" smtClean="0">
                <a:solidFill>
                  <a:schemeClr val="bg1"/>
                </a:solidFill>
                <a:ea typeface="微软雅黑" pitchFamily="34" charset="-122"/>
              </a:rPr>
              <a:t>单击此处添加标题</a:t>
            </a:r>
          </a:p>
          <a:p>
            <a:pPr eaLnBrk="1" hangingPunct="1">
              <a:lnSpc>
                <a:spcPct val="120000"/>
              </a:lnSpc>
            </a:pPr>
            <a:r>
              <a:rPr lang="zh-CN" altLang="en-US" dirty="0" smtClean="0">
                <a:solidFill>
                  <a:schemeClr val="bg1"/>
                </a:solidFill>
                <a:ea typeface="微软雅黑" pitchFamily="34" charset="-122"/>
              </a:rPr>
              <a:t>单击此处添加标题</a:t>
            </a: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1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2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3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4" eaLnBrk="1" hangingPunct="1">
              <a:lnSpc>
                <a:spcPct val="120000"/>
              </a:lnSpc>
            </a:pPr>
            <a:endParaRPr lang="zh-CN" altLang="en-US" dirty="0" smtClean="0">
              <a:solidFill>
                <a:schemeClr val="bg1"/>
              </a:solidFill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5034535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25947" y="2472308"/>
            <a:ext cx="5857641" cy="1913389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700" baseline="0">
                <a:solidFill>
                  <a:srgbClr val="004281"/>
                </a:solidFill>
              </a:defRPr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  <p:pic>
        <p:nvPicPr>
          <p:cNvPr id="8" name="图片 2" descr="cid:image001.jpg@01CE8EC9.224263B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7978" y="5939970"/>
            <a:ext cx="200025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80905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51520" y="1052736"/>
            <a:ext cx="8424936" cy="561662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latin typeface="+mj-ea"/>
                <a:ea typeface="+mj-ea"/>
              </a:defRPr>
            </a:lvl1pPr>
            <a:lvl2pPr>
              <a:defRPr sz="1500">
                <a:latin typeface="+mj-ea"/>
                <a:ea typeface="+mj-ea"/>
              </a:defRPr>
            </a:lvl2pPr>
            <a:lvl3pPr>
              <a:defRPr sz="1350">
                <a:latin typeface="+mj-ea"/>
                <a:ea typeface="+mj-ea"/>
              </a:defRPr>
            </a:lvl3pPr>
            <a:lvl4pPr>
              <a:defRPr sz="1200">
                <a:latin typeface="+mj-ea"/>
                <a:ea typeface="+mj-ea"/>
              </a:defRPr>
            </a:lvl4pPr>
            <a:lvl5pPr>
              <a:defRPr sz="1200">
                <a:latin typeface="+mj-ea"/>
                <a:ea typeface="+mj-ea"/>
              </a:defRPr>
            </a:lvl5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cxnSp>
        <p:nvCxnSpPr>
          <p:cNvPr id="7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8" y="248332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4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2949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51520" y="1052736"/>
            <a:ext cx="4040188" cy="6397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1">
                <a:latin typeface="+mj-ea"/>
                <a:ea typeface="+mj-ea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52537" y="1700808"/>
            <a:ext cx="4040188" cy="4497363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+mj-ea"/>
                <a:ea typeface="+mj-ea"/>
              </a:defRPr>
            </a:lvl1pPr>
            <a:lvl2pPr>
              <a:defRPr sz="1500">
                <a:latin typeface="+mj-ea"/>
                <a:ea typeface="+mj-ea"/>
              </a:defRPr>
            </a:lvl2pPr>
            <a:lvl3pPr>
              <a:defRPr sz="1350">
                <a:latin typeface="+mj-ea"/>
                <a:ea typeface="+mj-ea"/>
              </a:defRPr>
            </a:lvl3pPr>
            <a:lvl4pPr>
              <a:defRPr sz="1200">
                <a:latin typeface="+mj-ea"/>
                <a:ea typeface="+mj-ea"/>
              </a:defRPr>
            </a:lvl4pPr>
            <a:lvl5pPr>
              <a:defRPr sz="1200">
                <a:latin typeface="+mj-ea"/>
                <a:ea typeface="+mj-ea"/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55370" y="1052736"/>
            <a:ext cx="4041775" cy="6397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1">
                <a:latin typeface="+mj-ea"/>
                <a:ea typeface="+mj-ea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56387" y="1700808"/>
            <a:ext cx="4041775" cy="4497363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+mj-ea"/>
                <a:ea typeface="+mj-ea"/>
              </a:defRPr>
            </a:lvl1pPr>
            <a:lvl2pPr>
              <a:defRPr sz="1500">
                <a:latin typeface="+mj-ea"/>
                <a:ea typeface="+mj-ea"/>
              </a:defRPr>
            </a:lvl2pPr>
            <a:lvl3pPr>
              <a:defRPr sz="1350">
                <a:latin typeface="+mj-ea"/>
                <a:ea typeface="+mj-ea"/>
              </a:defRPr>
            </a:lvl3pPr>
            <a:lvl4pPr>
              <a:defRPr sz="1200">
                <a:latin typeface="+mj-ea"/>
                <a:ea typeface="+mj-ea"/>
              </a:defRPr>
            </a:lvl4pPr>
            <a:lvl5pPr>
              <a:defRPr sz="1200">
                <a:latin typeface="+mj-ea"/>
                <a:ea typeface="+mj-ea"/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cxnSp>
        <p:nvCxnSpPr>
          <p:cNvPr id="7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8" y="248332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46236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491880" y="1052736"/>
            <a:ext cx="5328592" cy="5544616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+mj-ea"/>
                <a:ea typeface="+mj-ea"/>
              </a:defRPr>
            </a:lvl1pPr>
            <a:lvl2pPr>
              <a:defRPr sz="1500">
                <a:latin typeface="+mj-ea"/>
                <a:ea typeface="+mj-ea"/>
              </a:defRPr>
            </a:lvl2pPr>
            <a:lvl3pPr>
              <a:defRPr sz="1350">
                <a:latin typeface="+mj-ea"/>
                <a:ea typeface="+mj-ea"/>
              </a:defRPr>
            </a:lvl3pPr>
            <a:lvl4pPr>
              <a:defRPr sz="1200">
                <a:latin typeface="+mj-ea"/>
                <a:ea typeface="+mj-ea"/>
              </a:defRPr>
            </a:lvl4pPr>
            <a:lvl5pPr>
              <a:defRPr sz="1200">
                <a:latin typeface="+mj-ea"/>
                <a:ea typeface="+mj-ea"/>
              </a:defRPr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51521" y="1052736"/>
            <a:ext cx="3008313" cy="554461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>
                <a:latin typeface="+mj-ea"/>
                <a:ea typeface="+mj-ea"/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cxnSp>
        <p:nvCxnSpPr>
          <p:cNvPr id="5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8" y="248332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4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22216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4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39595" y="1237892"/>
            <a:ext cx="4125938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73739" y="6356350"/>
            <a:ext cx="412936" cy="501650"/>
          </a:xfrm>
        </p:spPr>
        <p:txBody>
          <a:bodyPr/>
          <a:lstStyle/>
          <a:p>
            <a:fld id="{D53CB646-9C68-9A45-BA80-FD674575B78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778468" y="1237892"/>
            <a:ext cx="4133532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8" y="248332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>
            <a:spLocks noGrp="1"/>
          </p:cNvSpPr>
          <p:nvPr>
            <p:ph idx="14" hasCustomPrompt="1"/>
          </p:nvPr>
        </p:nvSpPr>
        <p:spPr>
          <a:xfrm>
            <a:off x="239595" y="3928084"/>
            <a:ext cx="4125938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4778468" y="3928084"/>
            <a:ext cx="4133532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cxnSp>
        <p:nvCxnSpPr>
          <p:cNvPr id="13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</p:spTree>
    <p:extLst>
      <p:ext uri="{BB962C8B-B14F-4D97-AF65-F5344CB8AC3E}">
        <p14:creationId xmlns:p14="http://schemas.microsoft.com/office/powerpoint/2010/main" val="1618836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应用部分3-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700" y="-27384"/>
            <a:ext cx="9167813" cy="687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Box 3"/>
          <p:cNvSpPr txBox="1">
            <a:spLocks noChangeArrowheads="1"/>
          </p:cNvSpPr>
          <p:nvPr userDrawn="1"/>
        </p:nvSpPr>
        <p:spPr bwMode="auto">
          <a:xfrm>
            <a:off x="612775" y="1773240"/>
            <a:ext cx="3816350" cy="11310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zh-CN" altLang="en-US" sz="3750" dirty="0">
                <a:solidFill>
                  <a:schemeClr val="bg1"/>
                </a:solidFill>
                <a:ea typeface="微软雅黑" pitchFamily="34" charset="-122"/>
              </a:rPr>
              <a:t>谢谢</a:t>
            </a:r>
            <a:r>
              <a:rPr lang="zh-CN" altLang="en-US" sz="3750" dirty="0">
                <a:solidFill>
                  <a:schemeClr val="bg1"/>
                </a:solidFill>
              </a:rPr>
              <a:t>！</a:t>
            </a:r>
          </a:p>
          <a:p>
            <a:pPr eaLnBrk="1" hangingPunct="1"/>
            <a:r>
              <a:rPr lang="en-US" altLang="zh-CN" sz="3000" dirty="0">
                <a:solidFill>
                  <a:schemeClr val="bg1"/>
                </a:solidFill>
              </a:rPr>
              <a:t>Thank you!</a:t>
            </a:r>
          </a:p>
        </p:txBody>
      </p:sp>
      <p:sp>
        <p:nvSpPr>
          <p:cNvPr id="5" name="Text Box 4"/>
          <p:cNvSpPr txBox="1">
            <a:spLocks noChangeArrowheads="1"/>
          </p:cNvSpPr>
          <p:nvPr userDrawn="1"/>
        </p:nvSpPr>
        <p:spPr bwMode="auto">
          <a:xfrm>
            <a:off x="612776" y="5534026"/>
            <a:ext cx="3744913" cy="611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zh-CN" altLang="en-US" sz="675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北京市朝阳区北辰西路</a:t>
            </a:r>
            <a:r>
              <a:rPr lang="en-US" altLang="zh-CN" sz="675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8</a:t>
            </a:r>
            <a:r>
              <a:rPr lang="zh-CN" altLang="en-US" sz="675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号北辰世纪中心</a:t>
            </a:r>
            <a:r>
              <a:rPr lang="en-US" altLang="zh-CN" sz="675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A</a:t>
            </a:r>
            <a:r>
              <a:rPr lang="zh-CN" altLang="en-US" sz="675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座</a:t>
            </a:r>
            <a:r>
              <a:rPr lang="en-US" altLang="zh-CN" sz="675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6</a:t>
            </a:r>
            <a:r>
              <a:rPr lang="zh-CN" altLang="en-US" sz="675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层</a:t>
            </a:r>
          </a:p>
          <a:p>
            <a:pPr eaLnBrk="1" hangingPunct="1"/>
            <a:r>
              <a:rPr lang="en-US" altLang="zh-CN" sz="675" dirty="0">
                <a:solidFill>
                  <a:schemeClr val="bg1">
                    <a:lumMod val="65000"/>
                  </a:schemeClr>
                </a:solidFill>
              </a:rPr>
              <a:t>6F Building A, North-Star Century Center, 8 </a:t>
            </a:r>
            <a:r>
              <a:rPr lang="en-US" altLang="zh-CN" sz="675" dirty="0" err="1">
                <a:solidFill>
                  <a:schemeClr val="bg1">
                    <a:lumMod val="65000"/>
                  </a:schemeClr>
                </a:solidFill>
              </a:rPr>
              <a:t>Beichen</a:t>
            </a:r>
            <a:r>
              <a:rPr lang="en-US" altLang="zh-CN" sz="675" dirty="0">
                <a:solidFill>
                  <a:schemeClr val="bg1">
                    <a:lumMod val="65000"/>
                  </a:schemeClr>
                </a:solidFill>
              </a:rPr>
              <a:t> West Street,</a:t>
            </a:r>
          </a:p>
          <a:p>
            <a:pPr eaLnBrk="1" hangingPunct="1"/>
            <a:r>
              <a:rPr lang="en-US" altLang="zh-CN" sz="675" dirty="0" err="1">
                <a:solidFill>
                  <a:schemeClr val="bg1">
                    <a:lumMod val="65000"/>
                  </a:schemeClr>
                </a:solidFill>
              </a:rPr>
              <a:t>Chaoyang</a:t>
            </a:r>
            <a:r>
              <a:rPr lang="en-US" altLang="zh-CN" sz="675" dirty="0">
                <a:solidFill>
                  <a:schemeClr val="bg1">
                    <a:lumMod val="65000"/>
                  </a:schemeClr>
                </a:solidFill>
              </a:rPr>
              <a:t> District, Beijing 100101</a:t>
            </a:r>
          </a:p>
          <a:p>
            <a:pPr eaLnBrk="1" hangingPunct="1"/>
            <a:r>
              <a:rPr lang="en-US" altLang="zh-CN" sz="675" dirty="0">
                <a:solidFill>
                  <a:schemeClr val="bg1">
                    <a:lumMod val="65000"/>
                  </a:schemeClr>
                </a:solidFill>
              </a:rPr>
              <a:t>T. 010-5895 1234   F. 010-5895 1234</a:t>
            </a:r>
          </a:p>
          <a:p>
            <a:pPr eaLnBrk="1" hangingPunct="1"/>
            <a:r>
              <a:rPr lang="en-US" altLang="zh-CN" sz="675" dirty="0">
                <a:solidFill>
                  <a:schemeClr val="bg1">
                    <a:lumMod val="65000"/>
                  </a:schemeClr>
                </a:solidFill>
              </a:rPr>
              <a:t>E. xingming@jd.com   www.jd.com </a:t>
            </a:r>
          </a:p>
        </p:txBody>
      </p:sp>
    </p:spTree>
    <p:extLst>
      <p:ext uri="{BB962C8B-B14F-4D97-AF65-F5344CB8AC3E}">
        <p14:creationId xmlns:p14="http://schemas.microsoft.com/office/powerpoint/2010/main" val="3357183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应用部分3-0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7462" y="-10584"/>
            <a:ext cx="9180513" cy="68791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Box 6"/>
          <p:cNvSpPr txBox="1">
            <a:spLocks noChangeArrowheads="1"/>
          </p:cNvSpPr>
          <p:nvPr userDrawn="1"/>
        </p:nvSpPr>
        <p:spPr bwMode="auto">
          <a:xfrm>
            <a:off x="323850" y="6582835"/>
            <a:ext cx="1003352" cy="2769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1200" dirty="0" smtClean="0">
                <a:solidFill>
                  <a:schemeClr val="bg1">
                    <a:lumMod val="50000"/>
                  </a:schemeClr>
                </a:solidFill>
              </a:rPr>
              <a:t>www.jd.com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1" y="271102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099412" y="6628084"/>
            <a:ext cx="495327" cy="184666"/>
          </a:xfrm>
        </p:spPr>
        <p:txBody>
          <a:bodyPr wrap="none" anchor="ctr">
            <a:spAutoFit/>
          </a:bodyPr>
          <a:lstStyle>
            <a:lvl1pPr>
              <a:defRPr sz="1200">
                <a:solidFill>
                  <a:srgbClr val="7F7F7F"/>
                </a:solidFill>
              </a:defRPr>
            </a:lvl1pPr>
          </a:lstStyle>
          <a:p>
            <a:r>
              <a:rPr lang="zh-CN" altLang="en-US"/>
              <a:t>第</a:t>
            </a:r>
            <a:fld id="{9BC8E9A6-445B-424E-871B-CD561A83BB4B}" type="slidenum">
              <a:rPr lang="en-US" altLang="zh-CN"/>
              <a:pPr/>
              <a:t>‹#›</a:t>
            </a:fld>
            <a:r>
              <a:rPr lang="zh-CN" altLang="en-US"/>
              <a:t>页</a:t>
            </a:r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6740054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57860" y="6356350"/>
            <a:ext cx="412936" cy="5016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750">
                <a:solidFill>
                  <a:srgbClr val="D00B31"/>
                </a:solidFill>
                <a:latin typeface="Arial"/>
                <a:cs typeface="Arial"/>
              </a:defRPr>
            </a:lvl1pPr>
          </a:lstStyle>
          <a:p>
            <a:fld id="{D53CB646-9C68-9A45-BA80-FD674575B78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5250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4" r:id="rId2"/>
    <p:sldLayoutId id="2147483683" r:id="rId3"/>
    <p:sldLayoutId id="2147483663" r:id="rId4"/>
    <p:sldLayoutId id="2147483664" r:id="rId5"/>
    <p:sldLayoutId id="2147483665" r:id="rId6"/>
    <p:sldLayoutId id="2147483682" r:id="rId7"/>
    <p:sldLayoutId id="2147483680" r:id="rId8"/>
    <p:sldLayoutId id="2147483685" r:id="rId9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100" kern="1200">
          <a:solidFill>
            <a:schemeClr val="tx2">
              <a:lumMod val="75000"/>
            </a:schemeClr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5pPr>
      <a:lvl6pPr marL="3429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  <a:ea typeface="宋体" pitchFamily="2" charset="-122"/>
        </a:defRPr>
      </a:lvl6pPr>
      <a:lvl7pPr marL="6858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  <a:ea typeface="宋体" pitchFamily="2" charset="-122"/>
        </a:defRPr>
      </a:lvl7pPr>
      <a:lvl8pPr marL="10287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  <a:ea typeface="宋体" pitchFamily="2" charset="-122"/>
        </a:defRPr>
      </a:lvl8pPr>
      <a:lvl9pPr marL="13716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  <a:ea typeface="宋体" pitchFamily="2" charset="-122"/>
        </a:defRPr>
      </a:lvl9pPr>
    </p:titleStyle>
    <p:bodyStyle>
      <a:lvl1pPr marL="257175" indent="-257175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18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1pPr>
      <a:lvl2pPr marL="557213" indent="-214313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15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2pPr>
      <a:lvl3pPr marL="857250" indent="-17145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135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3pPr>
      <a:lvl4pPr marL="1200150" indent="-17145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12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4pPr>
      <a:lvl5pPr marL="1543050" indent="-17145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11.em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hyperlink" Target="http://msgpack.org/" TargetMode="Externa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bugs.centos.org/view.php?id=8703" TargetMode="External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1.JP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video" Target="../media/media1.wmv"/><Relationship Id="rId1" Type="http://schemas.microsoft.com/office/2007/relationships/media" Target="../media/media1.wmv"/><Relationship Id="rId4" Type="http://schemas.openxmlformats.org/officeDocument/2006/relationships/image" Target="../media/image23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47664" y="2024844"/>
            <a:ext cx="5508612" cy="1026114"/>
          </a:xfrm>
        </p:spPr>
        <p:txBody>
          <a:bodyPr/>
          <a:lstStyle/>
          <a:p>
            <a:pPr algn="ctr"/>
            <a:r>
              <a:rPr lang="zh-CN" altLang="en-US" dirty="0" smtClean="0"/>
              <a:t>京东弹性云</a:t>
            </a:r>
            <a:r>
              <a:rPr lang="en-US" altLang="zh-CN" dirty="0" smtClean="0"/>
              <a:t>1.0</a:t>
            </a:r>
            <a:r>
              <a:rPr lang="zh-CN" altLang="en-US" dirty="0" smtClean="0"/>
              <a:t>技术</a:t>
            </a:r>
            <a:r>
              <a:rPr lang="zh-CN" altLang="en-US" dirty="0" smtClean="0"/>
              <a:t>剖析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/>
          </p:nvPr>
        </p:nvSpPr>
        <p:spPr>
          <a:xfrm>
            <a:off x="5580112" y="4077072"/>
            <a:ext cx="2988332" cy="377429"/>
          </a:xfrm>
        </p:spPr>
        <p:txBody>
          <a:bodyPr/>
          <a:lstStyle/>
          <a:p>
            <a:r>
              <a:rPr lang="en-US" altLang="zh-CN" dirty="0" smtClean="0"/>
              <a:t>2016/5</a:t>
            </a:r>
          </a:p>
          <a:p>
            <a:r>
              <a:rPr lang="zh-CN" altLang="en-US" dirty="0" smtClean="0"/>
              <a:t>云平台</a:t>
            </a:r>
            <a:r>
              <a:rPr lang="en-US" altLang="zh-CN" dirty="0" smtClean="0"/>
              <a:t>-</a:t>
            </a:r>
            <a:r>
              <a:rPr lang="zh-CN" altLang="en-US" dirty="0" smtClean="0"/>
              <a:t>弹性云团队</a:t>
            </a:r>
            <a:r>
              <a:rPr lang="en-US" altLang="zh-CN" dirty="0" smtClean="0"/>
              <a:t>-</a:t>
            </a:r>
            <a:r>
              <a:rPr lang="zh-CN" altLang="en-US" dirty="0" smtClean="0"/>
              <a:t>鲍永成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48613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31" indent="-28574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2972" indent="-228594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160" indent="-228594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348" indent="-228594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537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726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8915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103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>
                <a:solidFill>
                  <a:srgbClr val="7F7F7F"/>
                </a:solidFill>
              </a:rPr>
              <a:t>第</a:t>
            </a:r>
            <a:fld id="{1D6FCDF7-E6A7-4992-B1B5-3A302B9CD4F7}" type="slidenum">
              <a:rPr lang="en-US" altLang="zh-CN">
                <a:solidFill>
                  <a:srgbClr val="7F7F7F"/>
                </a:solidFill>
              </a:rPr>
              <a:pPr eaLnBrk="1" hangingPunct="1"/>
              <a:t>10</a:t>
            </a:fld>
            <a:r>
              <a:rPr lang="zh-CN" altLang="en-US">
                <a:solidFill>
                  <a:srgbClr val="7F7F7F"/>
                </a:solidFill>
              </a:rPr>
              <a:t>页</a:t>
            </a:r>
            <a:endParaRPr lang="en-US" altLang="zh-CN">
              <a:solidFill>
                <a:srgbClr val="7F7F7F"/>
              </a:solidFill>
            </a:endParaRPr>
          </a:p>
        </p:txBody>
      </p:sp>
      <p:sp>
        <p:nvSpPr>
          <p:cNvPr id="5" name="标题 1"/>
          <p:cNvSpPr txBox="1">
            <a:spLocks/>
          </p:cNvSpPr>
          <p:nvPr/>
        </p:nvSpPr>
        <p:spPr>
          <a:xfrm>
            <a:off x="323528" y="260648"/>
            <a:ext cx="6579707" cy="567000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27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容器之</a:t>
            </a:r>
            <a:r>
              <a:rPr lang="zh-CN" altLang="en-US" sz="27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虚拟</a:t>
            </a:r>
            <a:r>
              <a:rPr lang="zh-CN" altLang="en-US" sz="27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化网络</a:t>
            </a:r>
            <a:r>
              <a:rPr lang="en-US" altLang="zh-CN" sz="3600" dirty="0">
                <a:latin typeface="华文行楷" panose="02010800040101010101" pitchFamily="2" charset="-122"/>
                <a:ea typeface="华文行楷" panose="02010800040101010101" pitchFamily="2" charset="-122"/>
              </a:rPr>
              <a:t/>
            </a:r>
            <a:br>
              <a:rPr lang="en-US" altLang="zh-CN" sz="3600" dirty="0">
                <a:latin typeface="华文行楷" panose="02010800040101010101" pitchFamily="2" charset="-122"/>
                <a:ea typeface="华文行楷" panose="02010800040101010101" pitchFamily="2" charset="-122"/>
              </a:rPr>
            </a:br>
            <a:endParaRPr lang="zh-CN" altLang="en-US" sz="3600" dirty="0">
              <a:latin typeface="华文行楷" panose="02010800040101010101" pitchFamily="2" charset="-122"/>
              <a:ea typeface="华文行楷" panose="02010800040101010101" pitchFamily="2" charset="-122"/>
            </a:endParaRPr>
          </a:p>
        </p:txBody>
      </p:sp>
      <p:graphicFrame>
        <p:nvGraphicFramePr>
          <p:cNvPr id="6" name="对象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51351466"/>
              </p:ext>
            </p:extLst>
          </p:nvPr>
        </p:nvGraphicFramePr>
        <p:xfrm>
          <a:off x="1619672" y="924826"/>
          <a:ext cx="5552678" cy="57032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5" r:id="rId3" imgW="6658666" imgH="6838497" progId="Visio.Drawing.11">
                  <p:embed/>
                </p:oleObj>
              </mc:Choice>
              <mc:Fallback>
                <p:oleObj r:id="rId3" imgW="6658666" imgH="6838497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9672" y="924826"/>
                        <a:ext cx="5552678" cy="5703258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107348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>
          <a:xfrm>
            <a:off x="8113935" y="6628084"/>
            <a:ext cx="466281" cy="184666"/>
          </a:xfr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31" indent="-28574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2972" indent="-228594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160" indent="-228594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348" indent="-228594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537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726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8915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103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>
                <a:solidFill>
                  <a:srgbClr val="7F7F7F"/>
                </a:solidFill>
              </a:rPr>
              <a:t>第</a:t>
            </a:r>
            <a:fld id="{1D6FCDF7-E6A7-4992-B1B5-3A302B9CD4F7}" type="slidenum">
              <a:rPr lang="en-US" altLang="zh-CN">
                <a:solidFill>
                  <a:srgbClr val="7F7F7F"/>
                </a:solidFill>
              </a:rPr>
              <a:pPr eaLnBrk="1" hangingPunct="1"/>
              <a:t>11</a:t>
            </a:fld>
            <a:r>
              <a:rPr lang="zh-CN" altLang="en-US">
                <a:solidFill>
                  <a:srgbClr val="7F7F7F"/>
                </a:solidFill>
              </a:rPr>
              <a:t>页</a:t>
            </a:r>
            <a:endParaRPr lang="en-US" altLang="zh-CN">
              <a:solidFill>
                <a:srgbClr val="7F7F7F"/>
              </a:solidFill>
            </a:endParaRPr>
          </a:p>
        </p:txBody>
      </p:sp>
      <p:sp>
        <p:nvSpPr>
          <p:cNvPr id="5" name="标题 1"/>
          <p:cNvSpPr txBox="1">
            <a:spLocks/>
          </p:cNvSpPr>
          <p:nvPr/>
        </p:nvSpPr>
        <p:spPr>
          <a:xfrm>
            <a:off x="363832" y="201406"/>
            <a:ext cx="6579707" cy="567000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27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容器之</a:t>
            </a:r>
            <a:r>
              <a:rPr lang="zh-CN" altLang="en-US" sz="27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虚拟</a:t>
            </a:r>
            <a:r>
              <a:rPr lang="zh-CN" altLang="en-US" sz="27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化网络</a:t>
            </a:r>
            <a:r>
              <a:rPr lang="en-US" altLang="zh-CN" sz="3600" dirty="0">
                <a:latin typeface="华文行楷" panose="02010800040101010101" pitchFamily="2" charset="-122"/>
                <a:ea typeface="华文行楷" panose="02010800040101010101" pitchFamily="2" charset="-122"/>
              </a:rPr>
              <a:t/>
            </a:r>
            <a:br>
              <a:rPr lang="en-US" altLang="zh-CN" sz="3600" dirty="0">
                <a:latin typeface="华文行楷" panose="02010800040101010101" pitchFamily="2" charset="-122"/>
                <a:ea typeface="华文行楷" panose="02010800040101010101" pitchFamily="2" charset="-122"/>
              </a:rPr>
            </a:br>
            <a:endParaRPr lang="zh-CN" altLang="en-US" sz="3600" dirty="0">
              <a:latin typeface="华文行楷" panose="02010800040101010101" pitchFamily="2" charset="-122"/>
              <a:ea typeface="华文行楷" panose="02010800040101010101" pitchFamily="2" charset="-122"/>
            </a:endParaRPr>
          </a:p>
        </p:txBody>
      </p:sp>
      <p:sp>
        <p:nvSpPr>
          <p:cNvPr id="7" name="内容占位符 1"/>
          <p:cNvSpPr txBox="1">
            <a:spLocks/>
          </p:cNvSpPr>
          <p:nvPr/>
        </p:nvSpPr>
        <p:spPr>
          <a:xfrm>
            <a:off x="361761" y="980728"/>
            <a:ext cx="8424936" cy="4212468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8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Disable 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Docker network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，使用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JD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 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OVS-VLAN</a:t>
            </a:r>
          </a:p>
          <a:p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Container IP 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一等公民</a:t>
            </a:r>
            <a:endParaRPr lang="en-US" altLang="zh-CN" sz="2000" dirty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  <a:p>
            <a:r>
              <a:rPr lang="en-US" altLang="zh-CN" sz="2000" dirty="0" err="1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Qos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 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1:1 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权重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 share</a:t>
            </a:r>
          </a:p>
          <a:p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网卡中断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CPU Affinity, 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有效发挥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10Gbps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网卡性能优势</a:t>
            </a:r>
            <a:endParaRPr lang="en-US" altLang="zh-CN" sz="2000" dirty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  <a:p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监控完善，包括收发包，流量</a:t>
            </a:r>
            <a:endParaRPr lang="en-US" altLang="zh-CN" sz="2000" dirty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  <a:p>
            <a:r>
              <a:rPr lang="en-US" altLang="zh-CN" sz="2000" dirty="0" err="1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Openflow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 Simple</a:t>
            </a:r>
          </a:p>
          <a:p>
            <a:r>
              <a:rPr lang="en-US" altLang="zh-CN" sz="2000" dirty="0" err="1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Performace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与物理机相当</a:t>
            </a:r>
            <a:endParaRPr lang="en-US" altLang="zh-CN" sz="2000" dirty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  <a:p>
            <a:endParaRPr lang="en-US" altLang="zh-CN" sz="1800" dirty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  <a:p>
            <a:endParaRPr lang="en-US" altLang="zh-CN" sz="1800" dirty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108263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31" indent="-28574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2972" indent="-228594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160" indent="-228594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348" indent="-228594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537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726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8915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103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>
                <a:solidFill>
                  <a:srgbClr val="7F7F7F"/>
                </a:solidFill>
              </a:rPr>
              <a:t>第</a:t>
            </a:r>
            <a:fld id="{1D6FCDF7-E6A7-4992-B1B5-3A302B9CD4F7}" type="slidenum">
              <a:rPr lang="en-US" altLang="zh-CN">
                <a:solidFill>
                  <a:srgbClr val="7F7F7F"/>
                </a:solidFill>
              </a:rPr>
              <a:pPr eaLnBrk="1" hangingPunct="1"/>
              <a:t>12</a:t>
            </a:fld>
            <a:r>
              <a:rPr lang="zh-CN" altLang="en-US">
                <a:solidFill>
                  <a:srgbClr val="7F7F7F"/>
                </a:solidFill>
              </a:rPr>
              <a:t>页</a:t>
            </a:r>
            <a:endParaRPr lang="en-US" altLang="zh-CN">
              <a:solidFill>
                <a:srgbClr val="7F7F7F"/>
              </a:solidFill>
            </a:endParaRPr>
          </a:p>
        </p:txBody>
      </p:sp>
      <p:sp>
        <p:nvSpPr>
          <p:cNvPr id="5" name="标题 1"/>
          <p:cNvSpPr txBox="1">
            <a:spLocks/>
          </p:cNvSpPr>
          <p:nvPr/>
        </p:nvSpPr>
        <p:spPr>
          <a:xfrm>
            <a:off x="359532" y="199532"/>
            <a:ext cx="6579707" cy="567000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27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容器之</a:t>
            </a:r>
            <a:r>
              <a:rPr lang="zh-CN" altLang="en-US" sz="27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虚拟</a:t>
            </a:r>
            <a:r>
              <a:rPr lang="zh-CN" altLang="en-US" sz="27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化网络</a:t>
            </a:r>
            <a:r>
              <a:rPr lang="en-US" altLang="zh-CN" sz="27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-</a:t>
            </a:r>
            <a:r>
              <a:rPr lang="zh-CN" altLang="en-US" sz="27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流表</a:t>
            </a:r>
            <a:r>
              <a:rPr lang="en-US" altLang="zh-CN" sz="3600" dirty="0">
                <a:latin typeface="华文行楷" panose="02010800040101010101" pitchFamily="2" charset="-122"/>
                <a:ea typeface="华文行楷" panose="02010800040101010101" pitchFamily="2" charset="-122"/>
              </a:rPr>
              <a:t/>
            </a:r>
            <a:br>
              <a:rPr lang="en-US" altLang="zh-CN" sz="3600" dirty="0">
                <a:latin typeface="华文行楷" panose="02010800040101010101" pitchFamily="2" charset="-122"/>
                <a:ea typeface="华文行楷" panose="02010800040101010101" pitchFamily="2" charset="-122"/>
              </a:rPr>
            </a:br>
            <a:endParaRPr lang="zh-CN" altLang="en-US" sz="3600" dirty="0">
              <a:latin typeface="华文行楷" panose="02010800040101010101" pitchFamily="2" charset="-122"/>
              <a:ea typeface="华文行楷" panose="02010800040101010101" pitchFamily="2" charset="-122"/>
            </a:endParaRPr>
          </a:p>
        </p:txBody>
      </p:sp>
      <p:sp>
        <p:nvSpPr>
          <p:cNvPr id="7" name="内容占位符 1"/>
          <p:cNvSpPr txBox="1">
            <a:spLocks/>
          </p:cNvSpPr>
          <p:nvPr/>
        </p:nvSpPr>
        <p:spPr>
          <a:xfrm>
            <a:off x="363832" y="1592011"/>
            <a:ext cx="8424936" cy="4212468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8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altLang="zh-CN" sz="1800" dirty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  <a:p>
            <a:endParaRPr lang="en-US" altLang="zh-CN" sz="1800" dirty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531" y="2024844"/>
            <a:ext cx="8235207" cy="984306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532" y="3969060"/>
            <a:ext cx="8330752" cy="1116124"/>
          </a:xfrm>
          <a:prstGeom prst="rect">
            <a:avLst/>
          </a:prstGeom>
        </p:spPr>
      </p:pic>
      <p:sp>
        <p:nvSpPr>
          <p:cNvPr id="8" name="内容占位符 1"/>
          <p:cNvSpPr txBox="1">
            <a:spLocks/>
          </p:cNvSpPr>
          <p:nvPr/>
        </p:nvSpPr>
        <p:spPr>
          <a:xfrm>
            <a:off x="363832" y="1591260"/>
            <a:ext cx="8424936" cy="4212468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8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Local VLAN id TO Real VL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AN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 id</a:t>
            </a:r>
          </a:p>
          <a:p>
            <a:endParaRPr lang="en-US" altLang="zh-CN" sz="1800" dirty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  <a:p>
            <a:endParaRPr lang="en-US" altLang="zh-CN" sz="1800" dirty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  <a:p>
            <a:endParaRPr lang="en-US" altLang="zh-CN" sz="1800" dirty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  <a:p>
            <a:endParaRPr lang="en-US" altLang="zh-CN" sz="1800" dirty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  <a:p>
            <a:endParaRPr lang="en-US" altLang="zh-CN" sz="1800" dirty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  <a:p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Local 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VLAN id TO Real VLAN id</a:t>
            </a:r>
          </a:p>
          <a:p>
            <a:endParaRPr lang="en-US" altLang="zh-CN" sz="1800" dirty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  <a:p>
            <a:endParaRPr lang="en-US" altLang="zh-CN" sz="1800" dirty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  <a:p>
            <a:endParaRPr lang="en-US" altLang="zh-CN" sz="1800" dirty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177611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31" indent="-28574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2972" indent="-228594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160" indent="-228594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348" indent="-228594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537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726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8915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103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>
                <a:solidFill>
                  <a:srgbClr val="7F7F7F"/>
                </a:solidFill>
              </a:rPr>
              <a:t>第</a:t>
            </a:r>
            <a:fld id="{1D6FCDF7-E6A7-4992-B1B5-3A302B9CD4F7}" type="slidenum">
              <a:rPr lang="en-US" altLang="zh-CN">
                <a:solidFill>
                  <a:srgbClr val="7F7F7F"/>
                </a:solidFill>
              </a:rPr>
              <a:pPr eaLnBrk="1" hangingPunct="1"/>
              <a:t>13</a:t>
            </a:fld>
            <a:r>
              <a:rPr lang="zh-CN" altLang="en-US">
                <a:solidFill>
                  <a:srgbClr val="7F7F7F"/>
                </a:solidFill>
              </a:rPr>
              <a:t>页</a:t>
            </a:r>
            <a:endParaRPr lang="en-US" altLang="zh-CN">
              <a:solidFill>
                <a:srgbClr val="7F7F7F"/>
              </a:solidFill>
            </a:endParaRPr>
          </a:p>
        </p:txBody>
      </p:sp>
      <p:sp>
        <p:nvSpPr>
          <p:cNvPr id="5" name="标题 1"/>
          <p:cNvSpPr txBox="1">
            <a:spLocks/>
          </p:cNvSpPr>
          <p:nvPr/>
        </p:nvSpPr>
        <p:spPr>
          <a:xfrm>
            <a:off x="363832" y="200655"/>
            <a:ext cx="6579707" cy="567000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27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容器之</a:t>
            </a:r>
            <a:r>
              <a:rPr lang="zh-CN" altLang="en-US" sz="27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虚拟</a:t>
            </a:r>
            <a:r>
              <a:rPr lang="zh-CN" altLang="en-US" sz="27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化网络</a:t>
            </a:r>
            <a:r>
              <a:rPr lang="en-US" altLang="zh-CN" sz="27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-</a:t>
            </a:r>
            <a:r>
              <a:rPr lang="zh-CN" altLang="en-US" sz="27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性能</a:t>
            </a:r>
            <a:r>
              <a:rPr lang="en-US" altLang="zh-CN" sz="3600" dirty="0">
                <a:latin typeface="华文行楷" panose="02010800040101010101" pitchFamily="2" charset="-122"/>
                <a:ea typeface="华文行楷" panose="02010800040101010101" pitchFamily="2" charset="-122"/>
              </a:rPr>
              <a:t/>
            </a:r>
            <a:br>
              <a:rPr lang="en-US" altLang="zh-CN" sz="3600" dirty="0">
                <a:latin typeface="华文行楷" panose="02010800040101010101" pitchFamily="2" charset="-122"/>
                <a:ea typeface="华文行楷" panose="02010800040101010101" pitchFamily="2" charset="-122"/>
              </a:rPr>
            </a:br>
            <a:endParaRPr lang="zh-CN" altLang="en-US" sz="3600" dirty="0">
              <a:latin typeface="华文行楷" panose="02010800040101010101" pitchFamily="2" charset="-122"/>
              <a:ea typeface="华文行楷" panose="02010800040101010101" pitchFamily="2" charset="-122"/>
            </a:endParaRPr>
          </a:p>
        </p:txBody>
      </p:sp>
      <p:sp>
        <p:nvSpPr>
          <p:cNvPr id="7" name="内容占位符 1"/>
          <p:cNvSpPr txBox="1">
            <a:spLocks/>
          </p:cNvSpPr>
          <p:nvPr/>
        </p:nvSpPr>
        <p:spPr>
          <a:xfrm>
            <a:off x="363832" y="1592011"/>
            <a:ext cx="8424936" cy="4212468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8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altLang="zh-CN" sz="1800" dirty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  <a:p>
            <a:endParaRPr lang="en-US" altLang="zh-CN" sz="1800" dirty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</p:txBody>
      </p:sp>
      <p:sp>
        <p:nvSpPr>
          <p:cNvPr id="8" name="内容占位符 1"/>
          <p:cNvSpPr txBox="1">
            <a:spLocks/>
          </p:cNvSpPr>
          <p:nvPr/>
        </p:nvSpPr>
        <p:spPr>
          <a:xfrm>
            <a:off x="467544" y="1282543"/>
            <a:ext cx="8424936" cy="378828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8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Container TO Container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562" y="2073549"/>
            <a:ext cx="7037576" cy="1674186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841" y="3920246"/>
            <a:ext cx="7085507" cy="1711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1668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31" indent="-28574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2972" indent="-228594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160" indent="-228594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348" indent="-228594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537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726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8915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103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>
                <a:solidFill>
                  <a:srgbClr val="7F7F7F"/>
                </a:solidFill>
              </a:rPr>
              <a:t>第</a:t>
            </a:r>
            <a:fld id="{1D6FCDF7-E6A7-4992-B1B5-3A302B9CD4F7}" type="slidenum">
              <a:rPr lang="en-US" altLang="zh-CN">
                <a:solidFill>
                  <a:srgbClr val="7F7F7F"/>
                </a:solidFill>
              </a:rPr>
              <a:pPr eaLnBrk="1" hangingPunct="1"/>
              <a:t>14</a:t>
            </a:fld>
            <a:r>
              <a:rPr lang="zh-CN" altLang="en-US">
                <a:solidFill>
                  <a:srgbClr val="7F7F7F"/>
                </a:solidFill>
              </a:rPr>
              <a:t>页</a:t>
            </a:r>
            <a:endParaRPr lang="en-US" altLang="zh-CN">
              <a:solidFill>
                <a:srgbClr val="7F7F7F"/>
              </a:solidFill>
            </a:endParaRPr>
          </a:p>
        </p:txBody>
      </p:sp>
      <p:sp>
        <p:nvSpPr>
          <p:cNvPr id="5" name="标题 1"/>
          <p:cNvSpPr txBox="1">
            <a:spLocks/>
          </p:cNvSpPr>
          <p:nvPr/>
        </p:nvSpPr>
        <p:spPr>
          <a:xfrm>
            <a:off x="360332" y="209244"/>
            <a:ext cx="6579707" cy="567000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27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容器之</a:t>
            </a:r>
            <a:r>
              <a:rPr lang="zh-CN" altLang="en-US" sz="27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虚拟</a:t>
            </a:r>
            <a:r>
              <a:rPr lang="zh-CN" altLang="en-US" sz="27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化网络</a:t>
            </a:r>
            <a:r>
              <a:rPr lang="en-US" altLang="zh-CN" sz="27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-</a:t>
            </a:r>
            <a:r>
              <a:rPr lang="zh-CN" altLang="en-US" sz="27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性能</a:t>
            </a:r>
            <a:r>
              <a:rPr lang="en-US" altLang="zh-CN" sz="3600" dirty="0">
                <a:latin typeface="华文行楷" panose="02010800040101010101" pitchFamily="2" charset="-122"/>
                <a:ea typeface="华文行楷" panose="02010800040101010101" pitchFamily="2" charset="-122"/>
              </a:rPr>
              <a:t/>
            </a:r>
            <a:br>
              <a:rPr lang="en-US" altLang="zh-CN" sz="3600" dirty="0">
                <a:latin typeface="华文行楷" panose="02010800040101010101" pitchFamily="2" charset="-122"/>
                <a:ea typeface="华文行楷" panose="02010800040101010101" pitchFamily="2" charset="-122"/>
              </a:rPr>
            </a:br>
            <a:endParaRPr lang="zh-CN" altLang="en-US" sz="3600" dirty="0">
              <a:latin typeface="华文行楷" panose="02010800040101010101" pitchFamily="2" charset="-122"/>
              <a:ea typeface="华文行楷" panose="02010800040101010101" pitchFamily="2" charset="-122"/>
            </a:endParaRPr>
          </a:p>
        </p:txBody>
      </p:sp>
      <p:sp>
        <p:nvSpPr>
          <p:cNvPr id="7" name="内容占位符 1"/>
          <p:cNvSpPr txBox="1">
            <a:spLocks/>
          </p:cNvSpPr>
          <p:nvPr/>
        </p:nvSpPr>
        <p:spPr>
          <a:xfrm>
            <a:off x="363832" y="1592011"/>
            <a:ext cx="8424936" cy="4212468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8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altLang="zh-CN" sz="1800" dirty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  <a:p>
            <a:endParaRPr lang="en-US" altLang="zh-CN" sz="1800" dirty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</p:txBody>
      </p:sp>
      <p:sp>
        <p:nvSpPr>
          <p:cNvPr id="8" name="内容占位符 1"/>
          <p:cNvSpPr txBox="1">
            <a:spLocks/>
          </p:cNvSpPr>
          <p:nvPr/>
        </p:nvSpPr>
        <p:spPr>
          <a:xfrm>
            <a:off x="363832" y="1591260"/>
            <a:ext cx="8424936" cy="378828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8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物理机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 TO 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物理机</a:t>
            </a:r>
            <a:endParaRPr lang="en-US" altLang="zh-CN" sz="2000" dirty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563" y="2226111"/>
            <a:ext cx="7137602" cy="1178883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562" y="4167120"/>
            <a:ext cx="7543800" cy="1082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29215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OpenStack</a:t>
            </a:r>
            <a:r>
              <a:rPr lang="zh-CN" altLang="en-US" dirty="0" smtClean="0"/>
              <a:t>集群规模</a:t>
            </a:r>
            <a:r>
              <a:rPr lang="en-US" altLang="zh-CN" dirty="0" smtClean="0"/>
              <a:t>-How</a:t>
            </a:r>
            <a:endParaRPr lang="zh-CN" altLang="en-US" dirty="0"/>
          </a:p>
        </p:txBody>
      </p:sp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206126" y="1052736"/>
            <a:ext cx="8424936" cy="2545372"/>
          </a:xfrm>
        </p:spPr>
        <p:txBody>
          <a:bodyPr>
            <a:noAutofit/>
          </a:bodyPr>
          <a:lstStyle/>
          <a:p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从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F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版开始使用自研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brooder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（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default have </a:t>
            </a:r>
            <a:r>
              <a:rPr lang="en-US" altLang="zh-CN" sz="2000" dirty="0" err="1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redis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）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 </a:t>
            </a:r>
            <a:r>
              <a:rPr lang="en-US" altLang="zh-CN" sz="2000" dirty="0">
                <a:solidFill>
                  <a:schemeClr val="bg2">
                    <a:lumMod val="50000"/>
                  </a:schemeClr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like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 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nova-conductor</a:t>
            </a:r>
          </a:p>
          <a:p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自研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python 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RPC (</a:t>
            </a:r>
            <a:r>
              <a:rPr lang="en-US" altLang="zh-CN" sz="2000" dirty="0" err="1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eventlet+msgpack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) 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内部叫</a:t>
            </a:r>
            <a:r>
              <a:rPr lang="en-US" altLang="zh-CN" sz="2000" dirty="0" err="1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yaRPC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，收录到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 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  <a:hlinkClick r:id="rId2"/>
              </a:rPr>
              <a:t>http://msgpack.org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  <a:hlinkClick r:id="rId2"/>
              </a:rPr>
              <a:t>/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 </a:t>
            </a:r>
            <a:endParaRPr lang="en-US" altLang="zh-CN" sz="2000" dirty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  <a:p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neutron-</a:t>
            </a:r>
            <a:r>
              <a:rPr lang="en-US" altLang="zh-CN" sz="2000" dirty="0" err="1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openvswitch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-agent update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升级 （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JD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从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I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版开始支持）</a:t>
            </a:r>
            <a:endParaRPr lang="en-US" altLang="zh-CN" sz="2000" dirty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  <a:p>
            <a:r>
              <a:rPr lang="en-US" altLang="zh-CN" sz="2000" dirty="0" err="1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Openstack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广泛使用的文件锁，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JD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重新写该函数</a:t>
            </a:r>
            <a:endParaRPr lang="en-US" altLang="zh-CN" sz="2000" dirty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  <a:p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消息追踪，自研</a:t>
            </a:r>
            <a:r>
              <a:rPr lang="en-US" altLang="zh-CN" sz="2000" dirty="0" err="1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yaRPC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自带消息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tracking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，并记录到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DB</a:t>
            </a:r>
          </a:p>
          <a:p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大量调度特性功能比如：</a:t>
            </a:r>
            <a:r>
              <a:rPr lang="en-US" altLang="zh-CN" sz="2000" dirty="0" err="1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应用根据app-id夸交换机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/</a:t>
            </a:r>
            <a:r>
              <a:rPr lang="en-US" altLang="zh-CN" sz="2000" dirty="0" err="1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夸机架,根据业务系统级别，资源特性调度到不同的nova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 </a:t>
            </a:r>
            <a:r>
              <a:rPr lang="en-US" altLang="zh-CN" sz="2000" dirty="0" err="1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zone，不同隔离特性调度到不同的网络zone</a:t>
            </a:r>
            <a:endParaRPr lang="en-US" altLang="zh-CN" sz="2000" dirty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  <a:p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开发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JD IDC Network </a:t>
            </a:r>
            <a:r>
              <a:rPr lang="en-US" altLang="zh-CN" sz="2000" dirty="0" err="1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Z</a:t>
            </a:r>
            <a:r>
              <a:rPr lang="en-US" altLang="zh-CN" sz="2000" dirty="0" err="1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one功能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，支持</a:t>
            </a:r>
            <a:r>
              <a:rPr lang="en-US" altLang="zh-CN" sz="2000" dirty="0" err="1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IDC不同物理pod</a:t>
            </a:r>
            <a:endParaRPr lang="en-US" altLang="zh-CN" sz="2000" dirty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  <a:p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OVS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状态监控，内核信息追踪</a:t>
            </a:r>
            <a:endParaRPr lang="en-US" altLang="zh-CN" sz="2000" dirty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  <a:p>
            <a:r>
              <a:rPr lang="zh-CN" altLang="en-US" sz="2000" dirty="0">
                <a:solidFill>
                  <a:srgbClr val="FF0000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巡检系统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：</a:t>
            </a:r>
            <a:endParaRPr lang="en-US" altLang="zh-CN" sz="2000" dirty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  <a:p>
            <a:endParaRPr lang="en-US" altLang="zh-CN" sz="2000" dirty="0" smtClean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3036" y="4653136"/>
            <a:ext cx="1978819" cy="2450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25772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Docker</a:t>
            </a:r>
            <a:endParaRPr lang="zh-CN" altLang="en-US" dirty="0"/>
          </a:p>
        </p:txBody>
      </p:sp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altLang="zh-CN" sz="2000" dirty="0" err="1" smtClean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cgroup</a:t>
            </a:r>
            <a:r>
              <a:rPr lang="en-US" altLang="zh-CN" sz="2000" dirty="0" smtClean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 </a:t>
            </a:r>
            <a:r>
              <a:rPr lang="zh-CN" altLang="en-US" sz="2000" dirty="0" smtClean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需要被认真对待：</a:t>
            </a:r>
            <a:endParaRPr lang="en-US" altLang="zh-CN" sz="2000" dirty="0" smtClean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  <a:p>
            <a:pPr lvl="1"/>
            <a:r>
              <a:rPr lang="en-US" altLang="zh-CN" sz="2000" dirty="0" smtClean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CPU</a:t>
            </a:r>
            <a:r>
              <a:rPr lang="zh-CN" altLang="en-US" sz="2000" dirty="0" smtClean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默认调度</a:t>
            </a:r>
            <a:r>
              <a:rPr lang="en-US" altLang="zh-CN" sz="2000" dirty="0" err="1" smtClean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cfs</a:t>
            </a:r>
            <a:r>
              <a:rPr lang="zh-CN" altLang="en-US" sz="2000" dirty="0" smtClean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算法 </a:t>
            </a:r>
            <a:r>
              <a:rPr lang="en-US" altLang="zh-CN" sz="2000" dirty="0" err="1" smtClean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cpu</a:t>
            </a:r>
            <a:r>
              <a:rPr lang="en-US" altLang="zh-CN" sz="2000" dirty="0" smtClean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 set &amp; </a:t>
            </a:r>
            <a:r>
              <a:rPr lang="en-US" altLang="zh-CN" sz="2000" dirty="0" err="1" smtClean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cpu</a:t>
            </a:r>
            <a:r>
              <a:rPr lang="en-US" altLang="zh-CN" sz="2000" dirty="0" smtClean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 share</a:t>
            </a:r>
          </a:p>
          <a:p>
            <a:pPr lvl="1"/>
            <a:r>
              <a:rPr lang="en-US" altLang="zh-CN" sz="2000" dirty="0" err="1" smtClean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blkio</a:t>
            </a:r>
            <a:r>
              <a:rPr lang="zh-CN" altLang="en-US" sz="2000" dirty="0" smtClean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默认</a:t>
            </a:r>
            <a:r>
              <a:rPr lang="en-US" altLang="zh-CN" sz="2000" dirty="0" err="1" smtClean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cfq</a:t>
            </a:r>
            <a:r>
              <a:rPr lang="en-US" altLang="zh-CN" sz="2000" dirty="0" smtClean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 </a:t>
            </a:r>
            <a:r>
              <a:rPr lang="en-US" altLang="zh-CN" sz="2000" dirty="0" smtClean="0">
                <a:solidFill>
                  <a:schemeClr val="bg2">
                    <a:lumMod val="25000"/>
                  </a:schemeClr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vs</a:t>
            </a:r>
            <a:r>
              <a:rPr lang="en-US" altLang="zh-CN" sz="2000" dirty="0" smtClean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 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d</a:t>
            </a:r>
            <a:r>
              <a:rPr lang="en-US" altLang="zh-CN" sz="2000" dirty="0" smtClean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eadline</a:t>
            </a:r>
            <a:r>
              <a:rPr lang="zh-CN" altLang="en-US" sz="2000" dirty="0" smtClean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调度算法</a:t>
            </a:r>
            <a:endParaRPr lang="en-US" altLang="zh-CN" sz="2000" dirty="0" smtClean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  <a:p>
            <a:r>
              <a:rPr lang="en-US" altLang="zh-CN" sz="2000" dirty="0" smtClean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JD</a:t>
            </a:r>
            <a:r>
              <a:rPr lang="zh-CN" altLang="en-US" sz="2000" dirty="0" smtClean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胖容器：</a:t>
            </a:r>
            <a:r>
              <a:rPr lang="en-US" altLang="zh-CN" sz="2000" dirty="0" smtClean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/ + /export      /=</a:t>
            </a:r>
            <a:r>
              <a:rPr lang="en-US" altLang="zh-CN" sz="2000" dirty="0" err="1" smtClean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readonly</a:t>
            </a:r>
            <a:r>
              <a:rPr lang="en-US" altLang="zh-CN" sz="2000" dirty="0" smtClean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, /export=LVM(JD</a:t>
            </a:r>
            <a:r>
              <a:rPr lang="zh-CN" altLang="en-US" sz="2000" dirty="0" smtClean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工具链</a:t>
            </a:r>
            <a:r>
              <a:rPr lang="en-US" altLang="zh-CN" sz="2000" dirty="0" smtClean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+</a:t>
            </a:r>
            <a:r>
              <a:rPr lang="zh-CN" altLang="en-US" sz="2000" dirty="0" smtClean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应用系统</a:t>
            </a:r>
            <a:r>
              <a:rPr lang="en-US" altLang="zh-CN" sz="2000" dirty="0" smtClean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)</a:t>
            </a:r>
          </a:p>
          <a:p>
            <a:r>
              <a:rPr lang="en-US" altLang="zh-CN" sz="2000" dirty="0" smtClean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Disable </a:t>
            </a:r>
            <a:r>
              <a:rPr lang="en-US" altLang="zh-CN" sz="2000" dirty="0" err="1" smtClean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docker</a:t>
            </a:r>
            <a:r>
              <a:rPr lang="en-US" altLang="zh-CN" sz="2000" dirty="0" smtClean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 network</a:t>
            </a:r>
            <a:r>
              <a:rPr lang="zh-CN" altLang="en-US" sz="2000" dirty="0" smtClean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，</a:t>
            </a:r>
            <a:r>
              <a:rPr lang="en-US" altLang="zh-CN" sz="2000" dirty="0" smtClean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use neutron</a:t>
            </a:r>
            <a:r>
              <a:rPr lang="zh-CN" altLang="en-US" sz="2000" dirty="0" smtClean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（</a:t>
            </a:r>
            <a:r>
              <a:rPr lang="en-US" altLang="zh-CN" sz="2000" dirty="0" smtClean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OVS-</a:t>
            </a:r>
            <a:r>
              <a:rPr lang="en-US" altLang="zh-CN" sz="2000" dirty="0" err="1" smtClean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vlan</a:t>
            </a:r>
            <a:r>
              <a:rPr lang="zh-CN" altLang="en-US" sz="2000" dirty="0" smtClean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）</a:t>
            </a:r>
            <a:endParaRPr lang="en-US" altLang="zh-CN" sz="2000" dirty="0" smtClean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  <a:p>
            <a:r>
              <a:rPr lang="zh-CN" altLang="en-US" sz="2000" dirty="0" smtClean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监控加强</a:t>
            </a:r>
            <a:r>
              <a:rPr lang="en-US" altLang="zh-CN" sz="2000" dirty="0" smtClean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: </a:t>
            </a:r>
            <a:r>
              <a:rPr lang="zh-CN" altLang="en-US" sz="2000" dirty="0" smtClean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加入</a:t>
            </a:r>
            <a:r>
              <a:rPr lang="en-US" altLang="zh-CN" sz="2000" dirty="0" smtClean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process</a:t>
            </a:r>
            <a:r>
              <a:rPr lang="zh-CN" altLang="en-US" sz="2000" dirty="0" smtClean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，</a:t>
            </a:r>
            <a:r>
              <a:rPr lang="en-US" altLang="zh-CN" sz="2000" dirty="0" smtClean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open </a:t>
            </a:r>
            <a:r>
              <a:rPr lang="en-US" altLang="zh-CN" sz="2000" dirty="0" err="1" smtClean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fd</a:t>
            </a:r>
            <a:endParaRPr lang="en-US" altLang="zh-CN" sz="2000" dirty="0" smtClean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  <a:p>
            <a:r>
              <a:rPr lang="zh-CN" altLang="en-US" sz="2000" dirty="0" smtClean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自研镜像</a:t>
            </a:r>
            <a:r>
              <a:rPr lang="en-US" altLang="zh-CN" sz="2000" dirty="0" smtClean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build</a:t>
            </a:r>
            <a:r>
              <a:rPr lang="zh-CN" altLang="en-US" sz="2000" dirty="0" smtClean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增强功能：</a:t>
            </a:r>
            <a:r>
              <a:rPr lang="en-US" altLang="zh-CN" sz="2000" dirty="0" smtClean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compress/tag/clear/include</a:t>
            </a:r>
          </a:p>
        </p:txBody>
      </p:sp>
    </p:spTree>
    <p:extLst>
      <p:ext uri="{BB962C8B-B14F-4D97-AF65-F5344CB8AC3E}">
        <p14:creationId xmlns:p14="http://schemas.microsoft.com/office/powerpoint/2010/main" val="976090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altLang="zh-CN" sz="3600" dirty="0" smtClean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Q&amp;A</a:t>
            </a:r>
            <a:endParaRPr lang="zh-CN" altLang="en-US" sz="3600" dirty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</p:txBody>
      </p:sp>
      <p:sp>
        <p:nvSpPr>
          <p:cNvPr id="5" name="标题 1"/>
          <p:cNvSpPr txBox="1">
            <a:spLocks/>
          </p:cNvSpPr>
          <p:nvPr/>
        </p:nvSpPr>
        <p:spPr>
          <a:xfrm>
            <a:off x="4085946" y="2402886"/>
            <a:ext cx="6579707" cy="5670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3600" dirty="0">
                <a:latin typeface="华文行楷" panose="02010800040101010101" pitchFamily="2" charset="-122"/>
                <a:ea typeface="华文行楷" panose="02010800040101010101" pitchFamily="2" charset="-122"/>
              </a:rPr>
              <a:t>大胆假设，小心求证</a:t>
            </a:r>
            <a:r>
              <a:rPr lang="en-US" altLang="zh-CN" sz="3600" dirty="0">
                <a:latin typeface="华文行楷" panose="02010800040101010101" pitchFamily="2" charset="-122"/>
                <a:ea typeface="华文行楷" panose="02010800040101010101" pitchFamily="2" charset="-122"/>
              </a:rPr>
              <a:t/>
            </a:r>
            <a:br>
              <a:rPr lang="en-US" altLang="zh-CN" sz="3600" dirty="0">
                <a:latin typeface="华文行楷" panose="02010800040101010101" pitchFamily="2" charset="-122"/>
                <a:ea typeface="华文行楷" panose="02010800040101010101" pitchFamily="2" charset="-122"/>
              </a:rPr>
            </a:br>
            <a:endParaRPr lang="zh-CN" altLang="en-US" sz="3600" dirty="0">
              <a:latin typeface="华文行楷" panose="02010800040101010101" pitchFamily="2" charset="-122"/>
              <a:ea typeface="华文行楷" panose="02010800040101010101" pitchFamily="2" charset="-122"/>
            </a:endParaRPr>
          </a:p>
        </p:txBody>
      </p:sp>
      <p:sp>
        <p:nvSpPr>
          <p:cNvPr id="6" name="标题 1"/>
          <p:cNvSpPr txBox="1">
            <a:spLocks/>
          </p:cNvSpPr>
          <p:nvPr/>
        </p:nvSpPr>
        <p:spPr>
          <a:xfrm>
            <a:off x="4031940" y="4131078"/>
            <a:ext cx="6579707" cy="5670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3600" dirty="0">
                <a:latin typeface="华文行楷" panose="02010800040101010101" pitchFamily="2" charset="-122"/>
                <a:ea typeface="华文行楷" panose="02010800040101010101" pitchFamily="2" charset="-122"/>
              </a:rPr>
              <a:t>规模驱动技术持续演进</a:t>
            </a:r>
            <a:r>
              <a:rPr lang="en-US" altLang="zh-CN" sz="3600" dirty="0">
                <a:latin typeface="华文行楷" panose="02010800040101010101" pitchFamily="2" charset="-122"/>
                <a:ea typeface="华文行楷" panose="02010800040101010101" pitchFamily="2" charset="-122"/>
              </a:rPr>
              <a:t/>
            </a:r>
            <a:br>
              <a:rPr lang="en-US" altLang="zh-CN" sz="3600" dirty="0">
                <a:latin typeface="华文行楷" panose="02010800040101010101" pitchFamily="2" charset="-122"/>
                <a:ea typeface="华文行楷" panose="02010800040101010101" pitchFamily="2" charset="-122"/>
              </a:rPr>
            </a:br>
            <a:endParaRPr lang="zh-CN" altLang="en-US" sz="3600" dirty="0">
              <a:latin typeface="华文行楷" panose="02010800040101010101" pitchFamily="2" charset="-122"/>
              <a:ea typeface="华文行楷" panose="02010800040101010101" pitchFamily="2" charset="-122"/>
            </a:endParaRPr>
          </a:p>
        </p:txBody>
      </p:sp>
      <p:pic>
        <p:nvPicPr>
          <p:cNvPr id="10" name="内容占位符 9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1008468"/>
            <a:ext cx="2592288" cy="5840332"/>
          </a:xfrm>
        </p:spPr>
      </p:pic>
    </p:spTree>
    <p:extLst>
      <p:ext uri="{BB962C8B-B14F-4D97-AF65-F5344CB8AC3E}">
        <p14:creationId xmlns:p14="http://schemas.microsoft.com/office/powerpoint/2010/main" val="38980318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Microsoft JhengHei Light" panose="020B0304030504040204" pitchFamily="34" charset="-120"/>
                <a:ea typeface="Microsoft JhengHei Light" panose="020B0304030504040204" pitchFamily="34" charset="-120"/>
              </a:rPr>
              <a:t>JDOS</a:t>
            </a:r>
            <a:r>
              <a:rPr lang="zh-CN" altLang="en-US" dirty="0" smtClean="0">
                <a:latin typeface="Microsoft JhengHei Light" panose="020B0304030504040204" pitchFamily="34" charset="-120"/>
                <a:ea typeface="Microsoft JhengHei Light" panose="020B0304030504040204" pitchFamily="34" charset="-120"/>
              </a:rPr>
              <a:t>团队</a:t>
            </a:r>
            <a:endParaRPr lang="zh-CN" altLang="en-US" dirty="0">
              <a:latin typeface="Microsoft JhengHei Light" panose="020B0304030504040204" pitchFamily="34" charset="-120"/>
              <a:ea typeface="Microsoft JhengHei Light" panose="020B0304030504040204" pitchFamily="34" charset="-120"/>
            </a:endParaRPr>
          </a:p>
        </p:txBody>
      </p:sp>
      <p:graphicFrame>
        <p:nvGraphicFramePr>
          <p:cNvPr id="4" name="图示 3"/>
          <p:cNvGraphicFramePr/>
          <p:nvPr>
            <p:extLst/>
          </p:nvPr>
        </p:nvGraphicFramePr>
        <p:xfrm>
          <a:off x="1385646" y="1646803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489415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内容占位符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03" y="1592797"/>
            <a:ext cx="3159323" cy="4212431"/>
          </a:xfrm>
          <a:prstGeom prst="rect">
            <a:avLst/>
          </a:prstGeom>
        </p:spPr>
      </p:pic>
      <p:sp>
        <p:nvSpPr>
          <p:cNvPr id="5" name="标题 2"/>
          <p:cNvSpPr>
            <a:spLocks noGrp="1"/>
          </p:cNvSpPr>
          <p:nvPr>
            <p:ph type="title"/>
          </p:nvPr>
        </p:nvSpPr>
        <p:spPr>
          <a:xfrm>
            <a:off x="24831" y="168202"/>
            <a:ext cx="6579707" cy="567000"/>
          </a:xfrm>
        </p:spPr>
        <p:txBody>
          <a:bodyPr/>
          <a:lstStyle/>
          <a:p>
            <a:r>
              <a:rPr lang="zh-CN" altLang="en-US" dirty="0"/>
              <a:t>实践</a:t>
            </a:r>
          </a:p>
        </p:txBody>
      </p:sp>
      <p:sp>
        <p:nvSpPr>
          <p:cNvPr id="6" name="内容占位符 1"/>
          <p:cNvSpPr txBox="1">
            <a:spLocks/>
          </p:cNvSpPr>
          <p:nvPr/>
        </p:nvSpPr>
        <p:spPr>
          <a:xfrm>
            <a:off x="3437874" y="1700808"/>
            <a:ext cx="5616624" cy="3618402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8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Kernel Bug：</a:t>
            </a:r>
          </a:p>
          <a:p>
            <a:pPr lvl="1"/>
            <a:r>
              <a:rPr lang="en-US" altLang="zh-CN" sz="1500" dirty="0">
                <a:hlinkClick r:id="rId3"/>
              </a:rPr>
              <a:t>https://</a:t>
            </a:r>
            <a:r>
              <a:rPr lang="en-US" altLang="zh-CN" sz="1500" dirty="0">
                <a:hlinkClick r:id="rId3"/>
              </a:rPr>
              <a:t>bugs.centos.org/view.php?id=8703</a:t>
            </a:r>
            <a:endParaRPr lang="en-US" altLang="zh-CN" sz="1500" dirty="0"/>
          </a:p>
          <a:p>
            <a:pPr lvl="1"/>
            <a:endParaRPr lang="en-US" altLang="zh-CN" sz="1500" dirty="0"/>
          </a:p>
          <a:p>
            <a:endParaRPr lang="en-US" altLang="zh-CN" sz="1800" dirty="0"/>
          </a:p>
          <a:p>
            <a:endParaRPr lang="en-US" altLang="zh-CN" sz="1800" dirty="0"/>
          </a:p>
          <a:p>
            <a:endParaRPr lang="en-US" altLang="zh-CN" sz="1800" dirty="0"/>
          </a:p>
          <a:p>
            <a:endParaRPr lang="en-US" altLang="zh-CN" sz="1800" dirty="0"/>
          </a:p>
          <a:p>
            <a:endParaRPr lang="en-US" altLang="zh-CN" sz="1800" dirty="0"/>
          </a:p>
          <a:p>
            <a:endParaRPr lang="en-US" altLang="zh-CN" sz="1800" dirty="0"/>
          </a:p>
          <a:p>
            <a:r>
              <a:rPr lang="en-US" altLang="zh-CN" sz="18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64CPU</a:t>
            </a:r>
          </a:p>
          <a:p>
            <a:pPr lvl="1"/>
            <a:r>
              <a:rPr lang="en-US" altLang="zh-CN" sz="15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/proc/sys/</a:t>
            </a:r>
            <a:r>
              <a:rPr lang="en-US" altLang="zh-CN" sz="1500" dirty="0" err="1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vm</a:t>
            </a:r>
            <a:r>
              <a:rPr lang="en-US" altLang="zh-CN" sz="15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/</a:t>
            </a:r>
            <a:r>
              <a:rPr lang="en-US" altLang="zh-CN" sz="1500" dirty="0" err="1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min_free_kbytes</a:t>
            </a:r>
            <a:r>
              <a:rPr lang="en-US" altLang="zh-CN" sz="15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 </a:t>
            </a:r>
            <a:endParaRPr lang="en-US" altLang="zh-CN" sz="1500" dirty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  <a:p>
            <a:pPr lvl="1"/>
            <a:r>
              <a:rPr lang="en-US" altLang="zh-CN" sz="1500" dirty="0" err="1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ulimit</a:t>
            </a:r>
            <a:r>
              <a:rPr lang="en-US" altLang="zh-CN" sz="15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 –</a:t>
            </a:r>
            <a:r>
              <a:rPr lang="en-US" altLang="zh-CN" sz="15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v</a:t>
            </a:r>
          </a:p>
          <a:p>
            <a:pPr lvl="1"/>
            <a:r>
              <a:rPr lang="en-US" altLang="zh-CN" sz="15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MALLOC_ARENA_MAX </a:t>
            </a:r>
            <a:endParaRPr lang="en-US" altLang="zh-CN" sz="1500" dirty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  <a:p>
            <a:pPr lvl="1"/>
            <a:r>
              <a:rPr lang="zh-CN" altLang="en-US" sz="15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服务器功率</a:t>
            </a:r>
            <a:endParaRPr lang="en-US" altLang="zh-CN" sz="1500" dirty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  <a:p>
            <a:r>
              <a:rPr lang="en-US" altLang="zh-CN" sz="18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10Gbps：</a:t>
            </a:r>
            <a:r>
              <a:rPr lang="en-US" altLang="zh-CN" sz="15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SMP IRQ </a:t>
            </a:r>
            <a:r>
              <a:rPr lang="en-US" altLang="zh-CN" sz="1500" dirty="0" err="1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affinit设置更多CPU处理网卡中断</a:t>
            </a:r>
            <a:endParaRPr lang="en-US" altLang="zh-CN" sz="1500" dirty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  <a:p>
            <a:r>
              <a:rPr lang="en-US" altLang="zh-CN" sz="1800" dirty="0" err="1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CPU使用率xx%话题</a:t>
            </a:r>
            <a:endParaRPr lang="en-US" altLang="zh-CN" sz="1800" dirty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7934" y="2240868"/>
            <a:ext cx="3780420" cy="1289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2098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>
          <a:xfrm>
            <a:off x="8150708" y="6628084"/>
            <a:ext cx="392735" cy="184666"/>
          </a:xfr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31" indent="-28574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2972" indent="-228594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160" indent="-228594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348" indent="-228594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537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726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8915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103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>
                <a:solidFill>
                  <a:srgbClr val="7F7F7F"/>
                </a:solidFill>
              </a:rPr>
              <a:t>第</a:t>
            </a:r>
            <a:fld id="{1D6FCDF7-E6A7-4992-B1B5-3A302B9CD4F7}" type="slidenum">
              <a:rPr lang="en-US" altLang="zh-CN">
                <a:solidFill>
                  <a:srgbClr val="7F7F7F"/>
                </a:solidFill>
              </a:rPr>
              <a:pPr eaLnBrk="1" hangingPunct="1"/>
              <a:t>2</a:t>
            </a:fld>
            <a:r>
              <a:rPr lang="zh-CN" altLang="en-US">
                <a:solidFill>
                  <a:srgbClr val="7F7F7F"/>
                </a:solidFill>
              </a:rPr>
              <a:t>页</a:t>
            </a:r>
            <a:endParaRPr lang="en-US" altLang="zh-CN">
              <a:solidFill>
                <a:srgbClr val="7F7F7F"/>
              </a:solidFill>
            </a:endParaRPr>
          </a:p>
        </p:txBody>
      </p:sp>
      <p:sp>
        <p:nvSpPr>
          <p:cNvPr id="5" name="标题 1"/>
          <p:cNvSpPr txBox="1">
            <a:spLocks/>
          </p:cNvSpPr>
          <p:nvPr/>
        </p:nvSpPr>
        <p:spPr>
          <a:xfrm>
            <a:off x="899592" y="2411693"/>
            <a:ext cx="7848872" cy="219650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36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数据中心业务运行环境</a:t>
            </a:r>
            <a:r>
              <a:rPr lang="en-US" altLang="zh-CN" sz="3600" dirty="0" smtClean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100%</a:t>
            </a:r>
            <a:r>
              <a:rPr lang="zh-CN" altLang="en-US" sz="3600" dirty="0" smtClean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容器化</a:t>
            </a:r>
            <a:r>
              <a:rPr lang="en-US" altLang="zh-CN" sz="3600" dirty="0">
                <a:latin typeface="华文行楷" panose="02010800040101010101" pitchFamily="2" charset="-122"/>
                <a:ea typeface="华文行楷" panose="02010800040101010101" pitchFamily="2" charset="-122"/>
              </a:rPr>
              <a:t/>
            </a:r>
            <a:br>
              <a:rPr lang="en-US" altLang="zh-CN" sz="3600" dirty="0">
                <a:latin typeface="华文行楷" panose="02010800040101010101" pitchFamily="2" charset="-122"/>
                <a:ea typeface="华文行楷" panose="02010800040101010101" pitchFamily="2" charset="-122"/>
              </a:rPr>
            </a:br>
            <a:endParaRPr lang="zh-CN" altLang="en-US" sz="3600" dirty="0">
              <a:latin typeface="华文行楷" panose="02010800040101010101" pitchFamily="2" charset="-122"/>
              <a:ea typeface="华文行楷" panose="02010800040101010101" pitchFamily="2" charset="-122"/>
            </a:endParaRPr>
          </a:p>
        </p:txBody>
      </p:sp>
      <p:sp>
        <p:nvSpPr>
          <p:cNvPr id="6" name="标题 1"/>
          <p:cNvSpPr txBox="1">
            <a:spLocks/>
          </p:cNvSpPr>
          <p:nvPr/>
        </p:nvSpPr>
        <p:spPr>
          <a:xfrm>
            <a:off x="521550" y="2942946"/>
            <a:ext cx="6579707" cy="567000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en-US" altLang="zh-CN" sz="3600" dirty="0">
                <a:latin typeface="华文行楷" panose="02010800040101010101" pitchFamily="2" charset="-122"/>
                <a:ea typeface="华文行楷" panose="02010800040101010101" pitchFamily="2" charset="-122"/>
              </a:rPr>
              <a:t/>
            </a:r>
            <a:br>
              <a:rPr lang="en-US" altLang="zh-CN" sz="3600" dirty="0">
                <a:latin typeface="华文行楷" panose="02010800040101010101" pitchFamily="2" charset="-122"/>
                <a:ea typeface="华文行楷" panose="02010800040101010101" pitchFamily="2" charset="-122"/>
              </a:rPr>
            </a:br>
            <a:endParaRPr lang="zh-CN" altLang="en-US" sz="3600" dirty="0">
              <a:latin typeface="华文行楷" panose="02010800040101010101" pitchFamily="2" charset="-122"/>
              <a:ea typeface="华文行楷" panose="02010800040101010101" pitchFamily="2" charset="-122"/>
            </a:endParaRPr>
          </a:p>
        </p:txBody>
      </p:sp>
      <p:sp>
        <p:nvSpPr>
          <p:cNvPr id="7" name="标题 2"/>
          <p:cNvSpPr>
            <a:spLocks noGrp="1"/>
          </p:cNvSpPr>
          <p:nvPr>
            <p:ph type="title"/>
          </p:nvPr>
        </p:nvSpPr>
        <p:spPr>
          <a:xfrm>
            <a:off x="361966" y="205979"/>
            <a:ext cx="8772942" cy="584775"/>
          </a:xfrm>
        </p:spPr>
        <p:txBody>
          <a:bodyPr/>
          <a:lstStyle/>
          <a:p>
            <a:r>
              <a:rPr lang="zh-CN" altLang="en-US" sz="3200" dirty="0" smtClean="0">
                <a:latin typeface="+mj-ea"/>
              </a:rPr>
              <a:t>规模</a:t>
            </a:r>
            <a:endParaRPr lang="zh-CN" altLang="en-US" sz="3200" dirty="0">
              <a:latin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184594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 smtClean="0"/>
              <a:t>Openstack</a:t>
            </a:r>
            <a:r>
              <a:rPr lang="en-US" altLang="zh-CN" dirty="0" smtClean="0"/>
              <a:t> + Docker</a:t>
            </a:r>
            <a:r>
              <a:rPr lang="zh-CN" altLang="en-US" dirty="0" smtClean="0"/>
              <a:t>集成</a:t>
            </a:r>
            <a:endParaRPr lang="zh-CN" altLang="en-US" dirty="0"/>
          </a:p>
        </p:txBody>
      </p:sp>
      <p:pic>
        <p:nvPicPr>
          <p:cNvPr id="2051" name="图片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5736" y="1916832"/>
            <a:ext cx="4525143" cy="2724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51671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>
                <a:latin typeface="+mj-ea"/>
              </a:rPr>
              <a:t>网络性能优化</a:t>
            </a:r>
            <a:endParaRPr lang="zh-CN" altLang="en-US" dirty="0">
              <a:latin typeface="+mj-ea"/>
            </a:endParaRPr>
          </a:p>
        </p:txBody>
      </p:sp>
      <p:sp>
        <p:nvSpPr>
          <p:cNvPr id="6" name="标题 1"/>
          <p:cNvSpPr txBox="1">
            <a:spLocks/>
          </p:cNvSpPr>
          <p:nvPr/>
        </p:nvSpPr>
        <p:spPr>
          <a:xfrm>
            <a:off x="2843808" y="3158970"/>
            <a:ext cx="4382691" cy="277416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en-US" altLang="zh-CN" sz="4500" dirty="0"/>
              <a:t>OVS + DPDK</a:t>
            </a:r>
            <a:endParaRPr lang="zh-CN" altLang="en-US" sz="4500" dirty="0"/>
          </a:p>
        </p:txBody>
      </p:sp>
    </p:spTree>
    <p:extLst>
      <p:ext uri="{BB962C8B-B14F-4D97-AF65-F5344CB8AC3E}">
        <p14:creationId xmlns:p14="http://schemas.microsoft.com/office/powerpoint/2010/main" val="426905166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标题 1"/>
          <p:cNvSpPr>
            <a:spLocks noGrp="1"/>
          </p:cNvSpPr>
          <p:nvPr>
            <p:ph type="title"/>
          </p:nvPr>
        </p:nvSpPr>
        <p:spPr>
          <a:xfrm>
            <a:off x="467544" y="359123"/>
            <a:ext cx="5843588" cy="461665"/>
          </a:xfrm>
        </p:spPr>
        <p:txBody>
          <a:bodyPr/>
          <a:lstStyle/>
          <a:p>
            <a:r>
              <a:rPr lang="zh-CN" altLang="en-US" sz="2400" dirty="0"/>
              <a:t>统一管理物理机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31" indent="-28574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2972" indent="-228594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160" indent="-228594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348" indent="-228594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537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726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8915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103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>
                <a:solidFill>
                  <a:srgbClr val="7F7F7F"/>
                </a:solidFill>
              </a:rPr>
              <a:t>第</a:t>
            </a:r>
            <a:fld id="{1D6FCDF7-E6A7-4992-B1B5-3A302B9CD4F7}" type="slidenum">
              <a:rPr lang="en-US" altLang="zh-CN">
                <a:solidFill>
                  <a:srgbClr val="7F7F7F"/>
                </a:solidFill>
              </a:rPr>
              <a:pPr eaLnBrk="1" hangingPunct="1"/>
              <a:t>22</a:t>
            </a:fld>
            <a:r>
              <a:rPr lang="zh-CN" altLang="en-US">
                <a:solidFill>
                  <a:srgbClr val="7F7F7F"/>
                </a:solidFill>
              </a:rPr>
              <a:t>页</a:t>
            </a:r>
            <a:endParaRPr lang="en-US" altLang="zh-CN">
              <a:solidFill>
                <a:srgbClr val="7F7F7F"/>
              </a:solidFill>
            </a:endParaRPr>
          </a:p>
        </p:txBody>
      </p:sp>
      <p:pic>
        <p:nvPicPr>
          <p:cNvPr id="2" name="phy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115616" y="1628800"/>
            <a:ext cx="7040782" cy="3960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7915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3200" dirty="0" smtClean="0">
                <a:latin typeface="+mj-ea"/>
              </a:rPr>
              <a:t>JDOS </a:t>
            </a:r>
            <a:r>
              <a:rPr lang="zh-CN" altLang="en-US" sz="3200" dirty="0" smtClean="0">
                <a:latin typeface="+mj-ea"/>
              </a:rPr>
              <a:t>架构</a:t>
            </a:r>
            <a:endParaRPr lang="zh-CN" altLang="en-US" sz="3200" dirty="0">
              <a:latin typeface="+mj-ea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2303748" y="3344193"/>
            <a:ext cx="4424852" cy="80346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350" dirty="0"/>
              <a:t>Data Center </a:t>
            </a:r>
            <a:r>
              <a:rPr lang="en-US" altLang="zh-CN" sz="1350" dirty="0"/>
              <a:t>O</a:t>
            </a:r>
            <a:r>
              <a:rPr lang="en-US" altLang="zh-CN" sz="1350" dirty="0"/>
              <a:t>perating System (OpenStack)</a:t>
            </a:r>
            <a:endParaRPr lang="zh-CN" altLang="en-US" sz="1350" dirty="0"/>
          </a:p>
        </p:txBody>
      </p:sp>
      <p:sp>
        <p:nvSpPr>
          <p:cNvPr id="6" name="矩形 5"/>
          <p:cNvSpPr/>
          <p:nvPr/>
        </p:nvSpPr>
        <p:spPr>
          <a:xfrm>
            <a:off x="4203519" y="2407370"/>
            <a:ext cx="759685" cy="76022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350" dirty="0"/>
              <a:t>VMs</a:t>
            </a:r>
          </a:p>
        </p:txBody>
      </p:sp>
      <p:sp>
        <p:nvSpPr>
          <p:cNvPr id="7" name="矩形 6"/>
          <p:cNvSpPr/>
          <p:nvPr/>
        </p:nvSpPr>
        <p:spPr>
          <a:xfrm>
            <a:off x="4963203" y="2248109"/>
            <a:ext cx="972108" cy="91948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350" dirty="0"/>
              <a:t>Physical servers</a:t>
            </a:r>
          </a:p>
        </p:txBody>
      </p:sp>
      <p:sp>
        <p:nvSpPr>
          <p:cNvPr id="8" name="矩形 7"/>
          <p:cNvSpPr/>
          <p:nvPr/>
        </p:nvSpPr>
        <p:spPr>
          <a:xfrm>
            <a:off x="3164873" y="2569388"/>
            <a:ext cx="1038645" cy="59820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350" dirty="0"/>
              <a:t>Containers</a:t>
            </a:r>
          </a:p>
        </p:txBody>
      </p:sp>
      <p:sp>
        <p:nvSpPr>
          <p:cNvPr id="9" name="矩形 8"/>
          <p:cNvSpPr/>
          <p:nvPr/>
        </p:nvSpPr>
        <p:spPr>
          <a:xfrm>
            <a:off x="1277634" y="4398351"/>
            <a:ext cx="2592288" cy="75608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350" dirty="0"/>
              <a:t>JF</a:t>
            </a:r>
            <a:r>
              <a:rPr lang="en-US" altLang="zh-CN" sz="1350" dirty="0"/>
              <a:t>S</a:t>
            </a:r>
            <a:endParaRPr lang="en-US" altLang="zh-CN" sz="1350" dirty="0"/>
          </a:p>
        </p:txBody>
      </p:sp>
      <p:sp>
        <p:nvSpPr>
          <p:cNvPr id="10" name="矩形 9"/>
          <p:cNvSpPr/>
          <p:nvPr/>
        </p:nvSpPr>
        <p:spPr>
          <a:xfrm>
            <a:off x="3329862" y="4398351"/>
            <a:ext cx="2705662" cy="75608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35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VS</a:t>
            </a:r>
            <a:endParaRPr lang="en-US" altLang="zh-CN" sz="135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5760132" y="4398351"/>
            <a:ext cx="2012973" cy="75608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35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PDK</a:t>
            </a:r>
          </a:p>
        </p:txBody>
      </p:sp>
    </p:spTree>
    <p:extLst>
      <p:ext uri="{BB962C8B-B14F-4D97-AF65-F5344CB8AC3E}">
        <p14:creationId xmlns:p14="http://schemas.microsoft.com/office/powerpoint/2010/main" val="556850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3200" dirty="0" smtClean="0"/>
              <a:t>应用研发上线控制台</a:t>
            </a:r>
            <a:endParaRPr lang="zh-CN" altLang="en-US" sz="3200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42" y="1808821"/>
            <a:ext cx="8910990" cy="3078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8515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3200" dirty="0"/>
              <a:t>运维</a:t>
            </a:r>
            <a:r>
              <a:rPr lang="zh-CN" altLang="en-US" sz="3200" dirty="0" smtClean="0"/>
              <a:t>控制台</a:t>
            </a:r>
            <a:endParaRPr lang="zh-CN" altLang="en-US" sz="3200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68" y="3874770"/>
            <a:ext cx="7543800" cy="212598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562" y="1546929"/>
            <a:ext cx="7543800" cy="2295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4675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>
          <a:xfrm>
            <a:off x="8150708" y="6628084"/>
            <a:ext cx="392735" cy="184666"/>
          </a:xfr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31" indent="-28574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2972" indent="-228594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160" indent="-228594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348" indent="-228594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537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726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8915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103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>
                <a:solidFill>
                  <a:srgbClr val="7F7F7F"/>
                </a:solidFill>
              </a:rPr>
              <a:t>第</a:t>
            </a:r>
            <a:fld id="{1D6FCDF7-E6A7-4992-B1B5-3A302B9CD4F7}" type="slidenum">
              <a:rPr lang="en-US" altLang="zh-CN">
                <a:solidFill>
                  <a:srgbClr val="7F7F7F"/>
                </a:solidFill>
              </a:rPr>
              <a:pPr eaLnBrk="1" hangingPunct="1"/>
              <a:t>6</a:t>
            </a:fld>
            <a:r>
              <a:rPr lang="zh-CN" altLang="en-US">
                <a:solidFill>
                  <a:srgbClr val="7F7F7F"/>
                </a:solidFill>
              </a:rPr>
              <a:t>页</a:t>
            </a:r>
            <a:endParaRPr lang="en-US" altLang="zh-CN">
              <a:solidFill>
                <a:srgbClr val="7F7F7F"/>
              </a:solidFill>
            </a:endParaRPr>
          </a:p>
        </p:txBody>
      </p:sp>
      <p:sp>
        <p:nvSpPr>
          <p:cNvPr id="5" name="标题 1"/>
          <p:cNvSpPr txBox="1">
            <a:spLocks/>
          </p:cNvSpPr>
          <p:nvPr/>
        </p:nvSpPr>
        <p:spPr>
          <a:xfrm>
            <a:off x="458452" y="188640"/>
            <a:ext cx="6579707" cy="567000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27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一</a:t>
            </a:r>
            <a:r>
              <a:rPr lang="zh-CN" altLang="en-US" sz="27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个容器</a:t>
            </a:r>
            <a:r>
              <a:rPr lang="en-US" altLang="zh-CN" sz="3600" dirty="0">
                <a:latin typeface="华文行楷" panose="02010800040101010101" pitchFamily="2" charset="-122"/>
                <a:ea typeface="华文行楷" panose="02010800040101010101" pitchFamily="2" charset="-122"/>
              </a:rPr>
              <a:t/>
            </a:r>
            <a:br>
              <a:rPr lang="en-US" altLang="zh-CN" sz="3600" dirty="0">
                <a:latin typeface="华文行楷" panose="02010800040101010101" pitchFamily="2" charset="-122"/>
                <a:ea typeface="华文行楷" panose="02010800040101010101" pitchFamily="2" charset="-122"/>
              </a:rPr>
            </a:br>
            <a:endParaRPr lang="zh-CN" altLang="en-US" sz="3600" dirty="0">
              <a:latin typeface="华文行楷" panose="02010800040101010101" pitchFamily="2" charset="-122"/>
              <a:ea typeface="华文行楷" panose="02010800040101010101" pitchFamily="2" charset="-122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8" y="1628800"/>
            <a:ext cx="9012051" cy="2016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4826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>
          <a:xfrm>
            <a:off x="8150708" y="6628084"/>
            <a:ext cx="392735" cy="184666"/>
          </a:xfr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31" indent="-28574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2972" indent="-228594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160" indent="-228594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348" indent="-228594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537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726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8915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103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>
                <a:solidFill>
                  <a:srgbClr val="7F7F7F"/>
                </a:solidFill>
              </a:rPr>
              <a:t>第</a:t>
            </a:r>
            <a:fld id="{1D6FCDF7-E6A7-4992-B1B5-3A302B9CD4F7}" type="slidenum">
              <a:rPr lang="en-US" altLang="zh-CN">
                <a:solidFill>
                  <a:srgbClr val="7F7F7F"/>
                </a:solidFill>
              </a:rPr>
              <a:pPr eaLnBrk="1" hangingPunct="1"/>
              <a:t>7</a:t>
            </a:fld>
            <a:r>
              <a:rPr lang="zh-CN" altLang="en-US">
                <a:solidFill>
                  <a:srgbClr val="7F7F7F"/>
                </a:solidFill>
              </a:rPr>
              <a:t>页</a:t>
            </a:r>
            <a:endParaRPr lang="en-US" altLang="zh-CN">
              <a:solidFill>
                <a:srgbClr val="7F7F7F"/>
              </a:solidFill>
            </a:endParaRPr>
          </a:p>
        </p:txBody>
      </p:sp>
      <p:sp>
        <p:nvSpPr>
          <p:cNvPr id="5" name="标题 1"/>
          <p:cNvSpPr txBox="1">
            <a:spLocks/>
          </p:cNvSpPr>
          <p:nvPr/>
        </p:nvSpPr>
        <p:spPr>
          <a:xfrm>
            <a:off x="363260" y="188640"/>
            <a:ext cx="6579707" cy="567000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27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容器之</a:t>
            </a:r>
            <a:r>
              <a:rPr lang="en-US" altLang="zh-CN" sz="27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CPU</a:t>
            </a:r>
            <a:r>
              <a:rPr lang="en-US" altLang="zh-CN" sz="3600" dirty="0">
                <a:latin typeface="华文行楷" panose="02010800040101010101" pitchFamily="2" charset="-122"/>
                <a:ea typeface="华文行楷" panose="02010800040101010101" pitchFamily="2" charset="-122"/>
              </a:rPr>
              <a:t/>
            </a:r>
            <a:br>
              <a:rPr lang="en-US" altLang="zh-CN" sz="3600" dirty="0">
                <a:latin typeface="华文行楷" panose="02010800040101010101" pitchFamily="2" charset="-122"/>
                <a:ea typeface="华文行楷" panose="02010800040101010101" pitchFamily="2" charset="-122"/>
              </a:rPr>
            </a:br>
            <a:endParaRPr lang="zh-CN" altLang="en-US" sz="3600" dirty="0">
              <a:latin typeface="华文行楷" panose="02010800040101010101" pitchFamily="2" charset="-122"/>
              <a:ea typeface="华文行楷" panose="02010800040101010101" pitchFamily="2" charset="-122"/>
            </a:endParaRPr>
          </a:p>
        </p:txBody>
      </p:sp>
      <p:sp>
        <p:nvSpPr>
          <p:cNvPr id="8" name="内容占位符 1"/>
          <p:cNvSpPr txBox="1">
            <a:spLocks/>
          </p:cNvSpPr>
          <p:nvPr/>
        </p:nvSpPr>
        <p:spPr>
          <a:xfrm>
            <a:off x="375748" y="1052736"/>
            <a:ext cx="8424936" cy="4212468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8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000" dirty="0" err="1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Cgroup</a:t>
            </a:r>
            <a:endParaRPr lang="en-US" altLang="zh-CN" sz="2000" dirty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  <a:p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CFS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（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RR/FIFO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）</a:t>
            </a:r>
            <a:endParaRPr lang="en-US" altLang="zh-CN" sz="2000" dirty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  <a:p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每颗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CPU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一个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Task Queue</a:t>
            </a:r>
          </a:p>
          <a:p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Load 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宿主机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load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高会影响同一主机上其他容器吗</a:t>
            </a:r>
            <a:endParaRPr lang="en-US" altLang="zh-CN" sz="2000" dirty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  <a:p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导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入流量与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CPU%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成线性增加吗（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lock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/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可能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很少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人能写出把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CPU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能力榨干的程序）</a:t>
            </a:r>
            <a:endParaRPr lang="en-US" altLang="zh-CN" sz="2000" dirty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  <a:p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CPU Affinity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（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/</a:t>
            </a:r>
            <a:r>
              <a:rPr lang="en-US" altLang="zh-CN" sz="2000" dirty="0" err="1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etc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/</a:t>
            </a:r>
            <a:r>
              <a:rPr lang="en-US" altLang="zh-CN" sz="2000" dirty="0" err="1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cpu_info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）</a:t>
            </a:r>
            <a:endParaRPr lang="en-US" altLang="zh-CN" sz="2000" dirty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  <a:p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Disk IO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消耗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CPU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吗</a:t>
            </a:r>
            <a:endParaRPr lang="en-US" altLang="zh-CN" sz="2000" dirty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  <a:p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监控</a:t>
            </a:r>
            <a:endParaRPr lang="en-US" altLang="zh-CN" sz="2000" dirty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393829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>
          <a:xfrm>
            <a:off x="8150708" y="6628084"/>
            <a:ext cx="392735" cy="184666"/>
          </a:xfr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31" indent="-28574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2972" indent="-228594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160" indent="-228594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348" indent="-228594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537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726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8915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103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>
                <a:solidFill>
                  <a:srgbClr val="7F7F7F"/>
                </a:solidFill>
              </a:rPr>
              <a:t>第</a:t>
            </a:r>
            <a:fld id="{1D6FCDF7-E6A7-4992-B1B5-3A302B9CD4F7}" type="slidenum">
              <a:rPr lang="en-US" altLang="zh-CN">
                <a:solidFill>
                  <a:srgbClr val="7F7F7F"/>
                </a:solidFill>
              </a:rPr>
              <a:pPr eaLnBrk="1" hangingPunct="1"/>
              <a:t>8</a:t>
            </a:fld>
            <a:r>
              <a:rPr lang="zh-CN" altLang="en-US">
                <a:solidFill>
                  <a:srgbClr val="7F7F7F"/>
                </a:solidFill>
              </a:rPr>
              <a:t>页</a:t>
            </a:r>
            <a:endParaRPr lang="en-US" altLang="zh-CN">
              <a:solidFill>
                <a:srgbClr val="7F7F7F"/>
              </a:solidFill>
            </a:endParaRPr>
          </a:p>
        </p:txBody>
      </p:sp>
      <p:sp>
        <p:nvSpPr>
          <p:cNvPr id="5" name="标题 1"/>
          <p:cNvSpPr txBox="1">
            <a:spLocks/>
          </p:cNvSpPr>
          <p:nvPr/>
        </p:nvSpPr>
        <p:spPr>
          <a:xfrm>
            <a:off x="366441" y="226791"/>
            <a:ext cx="6579707" cy="567000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27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容器之</a:t>
            </a:r>
            <a:r>
              <a:rPr lang="zh-CN" altLang="en-US" sz="27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内存</a:t>
            </a:r>
            <a:r>
              <a:rPr lang="en-US" altLang="zh-CN" sz="3600" dirty="0">
                <a:latin typeface="华文行楷" panose="02010800040101010101" pitchFamily="2" charset="-122"/>
                <a:ea typeface="华文行楷" panose="02010800040101010101" pitchFamily="2" charset="-122"/>
              </a:rPr>
              <a:t/>
            </a:r>
            <a:br>
              <a:rPr lang="en-US" altLang="zh-CN" sz="3600" dirty="0">
                <a:latin typeface="华文行楷" panose="02010800040101010101" pitchFamily="2" charset="-122"/>
                <a:ea typeface="华文行楷" panose="02010800040101010101" pitchFamily="2" charset="-122"/>
              </a:rPr>
            </a:br>
            <a:endParaRPr lang="zh-CN" altLang="en-US" sz="3600" dirty="0">
              <a:latin typeface="华文行楷" panose="02010800040101010101" pitchFamily="2" charset="-122"/>
              <a:ea typeface="华文行楷" panose="02010800040101010101" pitchFamily="2" charset="-122"/>
            </a:endParaRPr>
          </a:p>
        </p:txBody>
      </p:sp>
      <p:sp>
        <p:nvSpPr>
          <p:cNvPr id="6" name="内容占位符 1"/>
          <p:cNvSpPr txBox="1">
            <a:spLocks/>
          </p:cNvSpPr>
          <p:nvPr/>
        </p:nvSpPr>
        <p:spPr>
          <a:xfrm>
            <a:off x="366441" y="1124744"/>
            <a:ext cx="8424936" cy="4212468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8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000" dirty="0" err="1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Cgroup</a:t>
            </a:r>
            <a:endParaRPr lang="en-US" altLang="zh-CN" sz="2000" dirty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  <a:p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%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=</a:t>
            </a:r>
            <a:r>
              <a:rPr lang="en-US" altLang="zh-CN" sz="2000" dirty="0" err="1" smtClean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RSS+Share</a:t>
            </a:r>
            <a:r>
              <a:rPr lang="en-US" altLang="zh-CN" sz="2000" dirty="0" smtClean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/Total</a:t>
            </a:r>
            <a:endParaRPr lang="en-US" altLang="zh-CN" sz="2000" dirty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  <a:p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OOM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（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like kill -9/namespace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）</a:t>
            </a:r>
            <a:endParaRPr lang="en-US" altLang="zh-CN" sz="2000" dirty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  <a:p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Cache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（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file binary cache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）</a:t>
            </a:r>
            <a:endParaRPr lang="en-US" altLang="zh-CN" sz="2000" dirty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  <a:p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Slab 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（</a:t>
            </a:r>
            <a:r>
              <a:rPr lang="en-US" altLang="zh-CN" sz="2000" dirty="0" err="1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inode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/</a:t>
            </a:r>
            <a:r>
              <a:rPr lang="en-US" altLang="zh-CN" sz="2000" dirty="0" err="1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dentry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/small files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）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JD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分散回收时机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 </a:t>
            </a:r>
          </a:p>
          <a:p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Swap</a:t>
            </a:r>
          </a:p>
          <a:p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/dev/</a:t>
            </a:r>
            <a:r>
              <a:rPr lang="en-US" altLang="zh-CN" sz="2000" dirty="0" err="1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shm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 default 64MB</a:t>
            </a:r>
          </a:p>
          <a:p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Share Memory default 32MB</a:t>
            </a:r>
          </a:p>
          <a:p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NUMA</a:t>
            </a:r>
          </a:p>
          <a:p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Memory leak</a:t>
            </a:r>
          </a:p>
          <a:p>
            <a:endParaRPr lang="en-US" altLang="zh-CN" sz="1800" dirty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032129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>
          <a:xfrm>
            <a:off x="8150708" y="6628084"/>
            <a:ext cx="392735" cy="184666"/>
          </a:xfr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31" indent="-28574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2972" indent="-228594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160" indent="-228594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348" indent="-228594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537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726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8915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103" indent="-2285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>
                <a:solidFill>
                  <a:srgbClr val="7F7F7F"/>
                </a:solidFill>
              </a:rPr>
              <a:t>第</a:t>
            </a:r>
            <a:fld id="{1D6FCDF7-E6A7-4992-B1B5-3A302B9CD4F7}" type="slidenum">
              <a:rPr lang="en-US" altLang="zh-CN">
                <a:solidFill>
                  <a:srgbClr val="7F7F7F"/>
                </a:solidFill>
              </a:rPr>
              <a:pPr eaLnBrk="1" hangingPunct="1"/>
              <a:t>9</a:t>
            </a:fld>
            <a:r>
              <a:rPr lang="zh-CN" altLang="en-US">
                <a:solidFill>
                  <a:srgbClr val="7F7F7F"/>
                </a:solidFill>
              </a:rPr>
              <a:t>页</a:t>
            </a:r>
            <a:endParaRPr lang="en-US" altLang="zh-CN">
              <a:solidFill>
                <a:srgbClr val="7F7F7F"/>
              </a:solidFill>
            </a:endParaRPr>
          </a:p>
        </p:txBody>
      </p:sp>
      <p:sp>
        <p:nvSpPr>
          <p:cNvPr id="5" name="标题 1"/>
          <p:cNvSpPr txBox="1">
            <a:spLocks/>
          </p:cNvSpPr>
          <p:nvPr/>
        </p:nvSpPr>
        <p:spPr>
          <a:xfrm>
            <a:off x="393736" y="201406"/>
            <a:ext cx="6579707" cy="567000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27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容器之磁盘</a:t>
            </a:r>
            <a:r>
              <a:rPr lang="en-US" altLang="zh-CN" sz="27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IO</a:t>
            </a:r>
            <a:r>
              <a:rPr lang="en-US" altLang="zh-CN" sz="3600" dirty="0">
                <a:latin typeface="华文行楷" panose="02010800040101010101" pitchFamily="2" charset="-122"/>
                <a:ea typeface="华文行楷" panose="02010800040101010101" pitchFamily="2" charset="-122"/>
              </a:rPr>
              <a:t/>
            </a:r>
            <a:br>
              <a:rPr lang="en-US" altLang="zh-CN" sz="3600" dirty="0">
                <a:latin typeface="华文行楷" panose="02010800040101010101" pitchFamily="2" charset="-122"/>
                <a:ea typeface="华文行楷" panose="02010800040101010101" pitchFamily="2" charset="-122"/>
              </a:rPr>
            </a:br>
            <a:endParaRPr lang="zh-CN" altLang="en-US" sz="3600" dirty="0">
              <a:latin typeface="华文行楷" panose="02010800040101010101" pitchFamily="2" charset="-122"/>
              <a:ea typeface="华文行楷" panose="02010800040101010101" pitchFamily="2" charset="-122"/>
            </a:endParaRPr>
          </a:p>
        </p:txBody>
      </p:sp>
      <p:sp>
        <p:nvSpPr>
          <p:cNvPr id="6" name="内容占位符 1"/>
          <p:cNvSpPr txBox="1">
            <a:spLocks/>
          </p:cNvSpPr>
          <p:nvPr/>
        </p:nvSpPr>
        <p:spPr>
          <a:xfrm>
            <a:off x="393736" y="1052736"/>
            <a:ext cx="8424936" cy="4212468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8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JD not use </a:t>
            </a:r>
            <a:r>
              <a:rPr lang="en-US" altLang="zh-CN" sz="2000" dirty="0" err="1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cgroup.blkio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 support </a:t>
            </a:r>
            <a:r>
              <a:rPr lang="en-US" altLang="zh-CN" sz="2000" dirty="0" err="1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Qos</a:t>
            </a:r>
            <a:endParaRPr lang="en-US" altLang="zh-CN" sz="2000" dirty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  <a:p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SAS 10K RAID5 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（很普通的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机械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硬盘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,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但是现在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1:N=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物理机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: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容器）</a:t>
            </a:r>
            <a:endParaRPr lang="en-US" altLang="zh-CN" sz="2000" dirty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  <a:p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NOOP/CFQ/Deadline</a:t>
            </a:r>
          </a:p>
          <a:p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DM/AUFS—LVM—JDPD(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物理分区技术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)</a:t>
            </a:r>
          </a:p>
          <a:p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JD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胖容器：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/ + /export  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/=</a:t>
            </a:r>
            <a:r>
              <a:rPr lang="en-US" altLang="zh-CN" sz="2000" dirty="0" err="1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readonly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, /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export=LVM/JDPD(JD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工具链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+</a:t>
            </a:r>
            <a:r>
              <a:rPr lang="zh-CN" altLang="en-US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应用系统</a:t>
            </a:r>
            <a:r>
              <a:rPr lang="en-US" altLang="zh-CN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)</a:t>
            </a:r>
          </a:p>
          <a:p>
            <a:r>
              <a:rPr lang="en-US" altLang="zh-CN" sz="2000" dirty="0">
                <a:solidFill>
                  <a:srgbClr val="FF0000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Unfortunately </a:t>
            </a:r>
            <a:r>
              <a:rPr lang="en-US" altLang="zh-CN" sz="2000" dirty="0">
                <a:solidFill>
                  <a:srgbClr val="FF0000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sync write</a:t>
            </a:r>
          </a:p>
          <a:p>
            <a:endParaRPr lang="en-US" altLang="zh-CN" sz="1800" dirty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488467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4O3l4W88EasraDpib_2X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fMfB0nSESo42spU2I.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0k_sLUDsEaTLy.2kDdF3g"/>
</p:tagLst>
</file>

<file path=ppt/theme/theme1.xml><?xml version="1.0" encoding="utf-8"?>
<a:theme xmlns:a="http://schemas.openxmlformats.org/drawingml/2006/main" name="JD Template V2.0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暗香扑面">
      <a:maj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</a:majorFont>
      <a:minorFont>
        <a:latin typeface="Franklin Gothic Book"/>
        <a:ea typeface=""/>
        <a:cs typeface=""/>
        <a:font script="Jpan" typeface="HG創英角ｺﾞｼｯｸUB"/>
        <a:font script="Hang" typeface="맑은 고딕"/>
        <a:font script="Hans" typeface="黑体"/>
        <a:font script="Hant" typeface="新細明體"/>
        <a:font script="Arab" typeface="Arial"/>
        <a:font script="Hebr" typeface="Arial"/>
        <a:font script="Thai" typeface="Cordian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/>
      <a:bodyPr wrap="square" rtlCol="0" anchor="ctr">
        <a:noAutofit/>
      </a:bodyPr>
      <a:lstStyle>
        <a:defPPr algn="ctr">
          <a:defRPr dirty="0" err="1" smtClean="0">
            <a:latin typeface="+mj-ea"/>
            <a:ea typeface="+mj-ea"/>
          </a:defRPr>
        </a:defPPr>
      </a:lstStyle>
      <a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a:style>
    </a:spDef>
    <a:txDef>
      <a:spPr>
        <a:noFill/>
      </a:spPr>
      <a:bodyPr wrap="none" rtlCol="0">
        <a:spAutoFit/>
      </a:bodyPr>
      <a:lstStyle>
        <a:defPPr>
          <a:defRPr dirty="0" smtClean="0">
            <a:latin typeface="+mj-ea"/>
            <a:ea typeface="+mj-ea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JD Template V2.0</Template>
  <TotalTime>10309</TotalTime>
  <Words>565</Words>
  <Application>Microsoft Office PowerPoint</Application>
  <PresentationFormat>全屏显示(4:3)</PresentationFormat>
  <Paragraphs>126</Paragraphs>
  <Slides>22</Slides>
  <Notes>0</Notes>
  <HiddenSlides>0</HiddenSlides>
  <MMClips>1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22</vt:i4>
      </vt:variant>
    </vt:vector>
  </HeadingPairs>
  <TitlesOfParts>
    <vt:vector size="35" baseType="lpstr">
      <vt:lpstr>Microsoft JhengHei Light</vt:lpstr>
      <vt:lpstr>Microsoft YaHei UI Light</vt:lpstr>
      <vt:lpstr>黑体</vt:lpstr>
      <vt:lpstr>华文行楷</vt:lpstr>
      <vt:lpstr>宋体</vt:lpstr>
      <vt:lpstr>微软雅黑</vt:lpstr>
      <vt:lpstr>Arial</vt:lpstr>
      <vt:lpstr>Calibri</vt:lpstr>
      <vt:lpstr>Franklin Gothic Book</vt:lpstr>
      <vt:lpstr>Franklin Gothic Medium</vt:lpstr>
      <vt:lpstr>JD Template V2.0</vt:lpstr>
      <vt:lpstr>think-cell Slide</vt:lpstr>
      <vt:lpstr>Visio.Drawing.11</vt:lpstr>
      <vt:lpstr>京东弹性云1.0技术剖析</vt:lpstr>
      <vt:lpstr>规模</vt:lpstr>
      <vt:lpstr>JDOS 架构</vt:lpstr>
      <vt:lpstr>应用研发上线控制台</vt:lpstr>
      <vt:lpstr>运维控制台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OpenStack集群规模-How</vt:lpstr>
      <vt:lpstr>Docker</vt:lpstr>
      <vt:lpstr>Q&amp;A</vt:lpstr>
      <vt:lpstr>JDOS团队</vt:lpstr>
      <vt:lpstr>实践</vt:lpstr>
      <vt:lpstr>Openstack + Docker集成</vt:lpstr>
      <vt:lpstr>网络性能优化</vt:lpstr>
      <vt:lpstr>统一管理物理机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弹性云战略落地项目总结汇报</dc:title>
  <dc:creator>p</dc:creator>
  <cp:lastModifiedBy>zhuwei</cp:lastModifiedBy>
  <cp:revision>434</cp:revision>
  <dcterms:created xsi:type="dcterms:W3CDTF">2015-06-26T05:41:38Z</dcterms:created>
  <dcterms:modified xsi:type="dcterms:W3CDTF">2016-05-31T04:05:37Z</dcterms:modified>
</cp:coreProperties>
</file>